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6.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2.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15.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notesMasters/notesMaster1.xml" ContentType="application/vnd.openxmlformats-officedocument.presentationml.notesMaster+xml"/>
  <Override PartName="/ppt/charts/chart2.xml" ContentType="application/vnd.openxmlformats-officedocument.drawingml.chart+xml"/>
  <Override PartName="/ppt/theme/theme1.xml" ContentType="application/vnd.openxmlformats-officedocument.theme+xml"/>
  <Override PartName="/ppt/theme/theme2.xml" ContentType="application/vnd.openxmlformats-officedocument.theme+xml"/>
  <Override PartName="/ppt/charts/chart1.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44.xml" ContentType="application/vnd.openxmlformats-officedocument.presentationml.tags+xml"/>
  <Override PartName="/ppt/tags/tag301.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22.xml" ContentType="application/vnd.openxmlformats-officedocument.presentationml.tags+xml"/>
  <Override PartName="/ppt/tags/tag321.xml" ContentType="application/vnd.openxmlformats-officedocument.presentationml.tags+xml"/>
  <Override PartName="/ppt/tags/tag32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285.xml" ContentType="application/vnd.openxmlformats-officedocument.presentationml.tags+xml"/>
  <Override PartName="/ppt/tags/tag284.xml" ContentType="application/vnd.openxmlformats-officedocument.presentationml.tags+xml"/>
  <Override PartName="/ppt/tags/tag283.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73.xml" ContentType="application/vnd.openxmlformats-officedocument.presentationml.tags+xml"/>
  <Override PartName="/ppt/tags/tag272.xml" ContentType="application/vnd.openxmlformats-officedocument.presentationml.tags+xml"/>
  <Override PartName="/ppt/tags/tag27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8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382.xml" ContentType="application/vnd.openxmlformats-officedocument.presentationml.tags+xml"/>
  <Override PartName="/ppt/tags/tag381.xml" ContentType="application/vnd.openxmlformats-officedocument.presentationml.tags+xml"/>
  <Override PartName="/ppt/tags/tag380.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4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70.xml" ContentType="application/vnd.openxmlformats-officedocument.presentationml.tags+xml"/>
  <Override PartName="/ppt/tags/tag369.xml" ContentType="application/vnd.openxmlformats-officedocument.presentationml.tags+xml"/>
  <Override PartName="/ppt/tags/tag36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237.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01.xml" ContentType="application/vnd.openxmlformats-officedocument.presentationml.tags+xml"/>
  <Override PartName="/ppt/tags/tag200.xml" ContentType="application/vnd.openxmlformats-officedocument.presentationml.tags+xml"/>
  <Override PartName="/ppt/tags/tag19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25.xml" ContentType="application/vnd.openxmlformats-officedocument.presentationml.tags+xml"/>
  <Override PartName="/ppt/tags/tag224.xml" ContentType="application/vnd.openxmlformats-officedocument.presentationml.tags+xml"/>
  <Override PartName="/ppt/tags/tag22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4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Lst>
  <p:notesMasterIdLst>
    <p:notesMasterId r:id="rId8"/>
  </p:notesMasterIdLst>
  <p:sldIdLst>
    <p:sldId id="413" r:id="rId2"/>
    <p:sldId id="417" r:id="rId3"/>
    <p:sldId id="418" r:id="rId4"/>
    <p:sldId id="419" r:id="rId5"/>
    <p:sldId id="420" r:id="rId6"/>
    <p:sldId id="415" r:id="rId7"/>
  </p:sldIdLst>
  <p:sldSz cx="9906000" cy="6858000" type="A4"/>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D8F3"/>
    <a:srgbClr val="D80F5F"/>
    <a:srgbClr val="FBBB4C"/>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065" autoAdjust="0"/>
    <p:restoredTop sz="94632" autoAdjust="0"/>
  </p:normalViewPr>
  <p:slideViewPr>
    <p:cSldViewPr snapToGrid="0" snapToObjects="1">
      <p:cViewPr>
        <p:scale>
          <a:sx n="100" d="100"/>
          <a:sy n="100" d="100"/>
        </p:scale>
        <p:origin x="-264" y="-198"/>
      </p:cViewPr>
      <p:guideLst>
        <p:guide orient="horz" pos="851"/>
        <p:guide orient="horz" pos="3762"/>
        <p:guide orient="horz" pos="291"/>
        <p:guide orient="horz" pos="1159"/>
        <p:guide orient="horz" pos="2641"/>
        <p:guide orient="horz" pos="3326"/>
        <p:guide orient="horz" pos="189"/>
        <p:guide pos="246"/>
        <p:guide pos="4959"/>
        <p:guide pos="3397"/>
        <p:guide pos="165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customXml" Target="../customXml/item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customXml" Target="../customXml/item3.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 Id="rId14" Type="http://schemas.openxmlformats.org/officeDocument/2006/relationships/customXml" Target="../customXml/item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49212577499135E-2"/>
          <c:y val="6.2156292963379579E-2"/>
          <c:w val="0.93086392240802185"/>
          <c:h val="0.85010748656417945"/>
        </c:manualLayout>
      </c:layout>
      <c:lineChart>
        <c:grouping val="standard"/>
        <c:varyColors val="0"/>
        <c:ser>
          <c:idx val="0"/>
          <c:order val="0"/>
          <c:tx>
            <c:strRef>
              <c:f>Sheet1!$B$1</c:f>
              <c:strCache>
                <c:ptCount val="1"/>
                <c:pt idx="0">
                  <c:v>STOXX Europe Maximum Dividend 40</c:v>
                </c:pt>
              </c:strCache>
            </c:strRef>
          </c:tx>
          <c:spPr>
            <a:ln w="28575">
              <a:solidFill>
                <a:schemeClr val="accent1"/>
              </a:solidFill>
              <a:prstDash val="solid"/>
            </a:ln>
          </c:spPr>
          <c:marker>
            <c:symbol val="none"/>
          </c:marker>
          <c:cat>
            <c:numRef>
              <c:f>Sheet1!$A$2:$A$759</c:f>
              <c:numCache>
                <c:formatCode>m/d/yyyy</c:formatCode>
                <c:ptCount val="758"/>
                <c:pt idx="0">
                  <c:v>40882</c:v>
                </c:pt>
                <c:pt idx="1">
                  <c:v>40883</c:v>
                </c:pt>
                <c:pt idx="2">
                  <c:v>40884</c:v>
                </c:pt>
                <c:pt idx="3">
                  <c:v>40885</c:v>
                </c:pt>
                <c:pt idx="4">
                  <c:v>40886</c:v>
                </c:pt>
                <c:pt idx="5">
                  <c:v>40889</c:v>
                </c:pt>
                <c:pt idx="6">
                  <c:v>40890</c:v>
                </c:pt>
                <c:pt idx="7">
                  <c:v>40891</c:v>
                </c:pt>
                <c:pt idx="8">
                  <c:v>40892</c:v>
                </c:pt>
                <c:pt idx="9">
                  <c:v>40893</c:v>
                </c:pt>
                <c:pt idx="10">
                  <c:v>40896</c:v>
                </c:pt>
                <c:pt idx="11">
                  <c:v>40897</c:v>
                </c:pt>
                <c:pt idx="12">
                  <c:v>40898</c:v>
                </c:pt>
                <c:pt idx="13">
                  <c:v>40899</c:v>
                </c:pt>
                <c:pt idx="14">
                  <c:v>40900</c:v>
                </c:pt>
                <c:pt idx="15">
                  <c:v>40904</c:v>
                </c:pt>
                <c:pt idx="16">
                  <c:v>40905</c:v>
                </c:pt>
                <c:pt idx="17">
                  <c:v>40906</c:v>
                </c:pt>
                <c:pt idx="18">
                  <c:v>40907</c:v>
                </c:pt>
                <c:pt idx="19">
                  <c:v>40910</c:v>
                </c:pt>
                <c:pt idx="20">
                  <c:v>40911</c:v>
                </c:pt>
                <c:pt idx="21">
                  <c:v>40912</c:v>
                </c:pt>
                <c:pt idx="22">
                  <c:v>40913</c:v>
                </c:pt>
                <c:pt idx="23">
                  <c:v>40914</c:v>
                </c:pt>
                <c:pt idx="24">
                  <c:v>40917</c:v>
                </c:pt>
                <c:pt idx="25">
                  <c:v>40918</c:v>
                </c:pt>
                <c:pt idx="26">
                  <c:v>40919</c:v>
                </c:pt>
                <c:pt idx="27">
                  <c:v>40920</c:v>
                </c:pt>
                <c:pt idx="28">
                  <c:v>40921</c:v>
                </c:pt>
                <c:pt idx="29">
                  <c:v>40924</c:v>
                </c:pt>
                <c:pt idx="30">
                  <c:v>40925</c:v>
                </c:pt>
                <c:pt idx="31">
                  <c:v>40926</c:v>
                </c:pt>
                <c:pt idx="32">
                  <c:v>40927</c:v>
                </c:pt>
                <c:pt idx="33">
                  <c:v>40928</c:v>
                </c:pt>
                <c:pt idx="34">
                  <c:v>40931</c:v>
                </c:pt>
                <c:pt idx="35">
                  <c:v>40932</c:v>
                </c:pt>
                <c:pt idx="36">
                  <c:v>40933</c:v>
                </c:pt>
                <c:pt idx="37">
                  <c:v>40934</c:v>
                </c:pt>
                <c:pt idx="38">
                  <c:v>40935</c:v>
                </c:pt>
                <c:pt idx="39">
                  <c:v>40938</c:v>
                </c:pt>
                <c:pt idx="40">
                  <c:v>40939</c:v>
                </c:pt>
                <c:pt idx="41">
                  <c:v>40940</c:v>
                </c:pt>
                <c:pt idx="42">
                  <c:v>40941</c:v>
                </c:pt>
                <c:pt idx="43">
                  <c:v>40942</c:v>
                </c:pt>
                <c:pt idx="44">
                  <c:v>40945</c:v>
                </c:pt>
                <c:pt idx="45">
                  <c:v>40946</c:v>
                </c:pt>
                <c:pt idx="46">
                  <c:v>40947</c:v>
                </c:pt>
                <c:pt idx="47">
                  <c:v>40948</c:v>
                </c:pt>
                <c:pt idx="48">
                  <c:v>40949</c:v>
                </c:pt>
                <c:pt idx="49">
                  <c:v>40952</c:v>
                </c:pt>
                <c:pt idx="50">
                  <c:v>40953</c:v>
                </c:pt>
                <c:pt idx="51">
                  <c:v>40954</c:v>
                </c:pt>
                <c:pt idx="52">
                  <c:v>40955</c:v>
                </c:pt>
                <c:pt idx="53">
                  <c:v>40956</c:v>
                </c:pt>
                <c:pt idx="54">
                  <c:v>40959</c:v>
                </c:pt>
                <c:pt idx="55">
                  <c:v>40960</c:v>
                </c:pt>
                <c:pt idx="56">
                  <c:v>40961</c:v>
                </c:pt>
                <c:pt idx="57">
                  <c:v>40962</c:v>
                </c:pt>
                <c:pt idx="58">
                  <c:v>40963</c:v>
                </c:pt>
                <c:pt idx="59">
                  <c:v>40966</c:v>
                </c:pt>
                <c:pt idx="60">
                  <c:v>40967</c:v>
                </c:pt>
                <c:pt idx="61">
                  <c:v>40968</c:v>
                </c:pt>
                <c:pt idx="62">
                  <c:v>40969</c:v>
                </c:pt>
                <c:pt idx="63">
                  <c:v>40970</c:v>
                </c:pt>
                <c:pt idx="64">
                  <c:v>40973</c:v>
                </c:pt>
                <c:pt idx="65">
                  <c:v>40974</c:v>
                </c:pt>
                <c:pt idx="66">
                  <c:v>40975</c:v>
                </c:pt>
                <c:pt idx="67">
                  <c:v>40976</c:v>
                </c:pt>
                <c:pt idx="68">
                  <c:v>40977</c:v>
                </c:pt>
                <c:pt idx="69">
                  <c:v>40980</c:v>
                </c:pt>
                <c:pt idx="70">
                  <c:v>40981</c:v>
                </c:pt>
                <c:pt idx="71">
                  <c:v>40982</c:v>
                </c:pt>
                <c:pt idx="72">
                  <c:v>40983</c:v>
                </c:pt>
                <c:pt idx="73">
                  <c:v>40984</c:v>
                </c:pt>
                <c:pt idx="74">
                  <c:v>40987</c:v>
                </c:pt>
                <c:pt idx="75">
                  <c:v>40988</c:v>
                </c:pt>
                <c:pt idx="76">
                  <c:v>40989</c:v>
                </c:pt>
                <c:pt idx="77">
                  <c:v>40990</c:v>
                </c:pt>
                <c:pt idx="78">
                  <c:v>40991</c:v>
                </c:pt>
                <c:pt idx="79">
                  <c:v>40994</c:v>
                </c:pt>
                <c:pt idx="80">
                  <c:v>40995</c:v>
                </c:pt>
                <c:pt idx="81">
                  <c:v>40996</c:v>
                </c:pt>
                <c:pt idx="82">
                  <c:v>40997</c:v>
                </c:pt>
                <c:pt idx="83">
                  <c:v>40998</c:v>
                </c:pt>
                <c:pt idx="84">
                  <c:v>41001</c:v>
                </c:pt>
                <c:pt idx="85">
                  <c:v>41002</c:v>
                </c:pt>
                <c:pt idx="86">
                  <c:v>41003</c:v>
                </c:pt>
                <c:pt idx="87">
                  <c:v>41004</c:v>
                </c:pt>
                <c:pt idx="88">
                  <c:v>41009</c:v>
                </c:pt>
                <c:pt idx="89">
                  <c:v>41010</c:v>
                </c:pt>
                <c:pt idx="90">
                  <c:v>41011</c:v>
                </c:pt>
                <c:pt idx="91">
                  <c:v>41012</c:v>
                </c:pt>
                <c:pt idx="92">
                  <c:v>41015</c:v>
                </c:pt>
                <c:pt idx="93">
                  <c:v>41016</c:v>
                </c:pt>
                <c:pt idx="94">
                  <c:v>41017</c:v>
                </c:pt>
                <c:pt idx="95">
                  <c:v>41018</c:v>
                </c:pt>
                <c:pt idx="96">
                  <c:v>41019</c:v>
                </c:pt>
                <c:pt idx="97">
                  <c:v>41022</c:v>
                </c:pt>
                <c:pt idx="98">
                  <c:v>41023</c:v>
                </c:pt>
                <c:pt idx="99">
                  <c:v>41024</c:v>
                </c:pt>
                <c:pt idx="100">
                  <c:v>41025</c:v>
                </c:pt>
                <c:pt idx="101">
                  <c:v>41026</c:v>
                </c:pt>
                <c:pt idx="102">
                  <c:v>41029</c:v>
                </c:pt>
                <c:pt idx="103">
                  <c:v>41030</c:v>
                </c:pt>
                <c:pt idx="104">
                  <c:v>41031</c:v>
                </c:pt>
                <c:pt idx="105">
                  <c:v>41032</c:v>
                </c:pt>
                <c:pt idx="106">
                  <c:v>41033</c:v>
                </c:pt>
                <c:pt idx="107">
                  <c:v>41036</c:v>
                </c:pt>
                <c:pt idx="108">
                  <c:v>41037</c:v>
                </c:pt>
                <c:pt idx="109">
                  <c:v>41038</c:v>
                </c:pt>
                <c:pt idx="110">
                  <c:v>41039</c:v>
                </c:pt>
                <c:pt idx="111">
                  <c:v>41040</c:v>
                </c:pt>
                <c:pt idx="112">
                  <c:v>41043</c:v>
                </c:pt>
                <c:pt idx="113">
                  <c:v>41044</c:v>
                </c:pt>
                <c:pt idx="114">
                  <c:v>41045</c:v>
                </c:pt>
                <c:pt idx="115">
                  <c:v>41046</c:v>
                </c:pt>
                <c:pt idx="116">
                  <c:v>41047</c:v>
                </c:pt>
                <c:pt idx="117">
                  <c:v>41050</c:v>
                </c:pt>
                <c:pt idx="118">
                  <c:v>41051</c:v>
                </c:pt>
                <c:pt idx="119">
                  <c:v>41052</c:v>
                </c:pt>
                <c:pt idx="120">
                  <c:v>41053</c:v>
                </c:pt>
                <c:pt idx="121">
                  <c:v>41054</c:v>
                </c:pt>
                <c:pt idx="122">
                  <c:v>41057</c:v>
                </c:pt>
                <c:pt idx="123">
                  <c:v>41058</c:v>
                </c:pt>
                <c:pt idx="124">
                  <c:v>41059</c:v>
                </c:pt>
                <c:pt idx="125">
                  <c:v>41060</c:v>
                </c:pt>
                <c:pt idx="126">
                  <c:v>41061</c:v>
                </c:pt>
                <c:pt idx="127">
                  <c:v>41064</c:v>
                </c:pt>
                <c:pt idx="128">
                  <c:v>41065</c:v>
                </c:pt>
                <c:pt idx="129">
                  <c:v>41066</c:v>
                </c:pt>
                <c:pt idx="130">
                  <c:v>41067</c:v>
                </c:pt>
                <c:pt idx="131">
                  <c:v>41068</c:v>
                </c:pt>
                <c:pt idx="132">
                  <c:v>41071</c:v>
                </c:pt>
                <c:pt idx="133">
                  <c:v>41072</c:v>
                </c:pt>
                <c:pt idx="134">
                  <c:v>41073</c:v>
                </c:pt>
                <c:pt idx="135">
                  <c:v>41074</c:v>
                </c:pt>
                <c:pt idx="136">
                  <c:v>41075</c:v>
                </c:pt>
                <c:pt idx="137">
                  <c:v>41078</c:v>
                </c:pt>
                <c:pt idx="138">
                  <c:v>41079</c:v>
                </c:pt>
                <c:pt idx="139">
                  <c:v>41080</c:v>
                </c:pt>
                <c:pt idx="140">
                  <c:v>41081</c:v>
                </c:pt>
                <c:pt idx="141">
                  <c:v>41082</c:v>
                </c:pt>
                <c:pt idx="142">
                  <c:v>41085</c:v>
                </c:pt>
                <c:pt idx="143">
                  <c:v>41086</c:v>
                </c:pt>
                <c:pt idx="144">
                  <c:v>41087</c:v>
                </c:pt>
                <c:pt idx="145">
                  <c:v>41088</c:v>
                </c:pt>
                <c:pt idx="146">
                  <c:v>41089</c:v>
                </c:pt>
                <c:pt idx="147">
                  <c:v>41092</c:v>
                </c:pt>
                <c:pt idx="148">
                  <c:v>41093</c:v>
                </c:pt>
                <c:pt idx="149">
                  <c:v>41094</c:v>
                </c:pt>
                <c:pt idx="150">
                  <c:v>41095</c:v>
                </c:pt>
                <c:pt idx="151">
                  <c:v>41096</c:v>
                </c:pt>
                <c:pt idx="152">
                  <c:v>41099</c:v>
                </c:pt>
                <c:pt idx="153">
                  <c:v>41100</c:v>
                </c:pt>
                <c:pt idx="154">
                  <c:v>41101</c:v>
                </c:pt>
                <c:pt idx="155">
                  <c:v>41102</c:v>
                </c:pt>
                <c:pt idx="156">
                  <c:v>41103</c:v>
                </c:pt>
                <c:pt idx="157">
                  <c:v>41106</c:v>
                </c:pt>
                <c:pt idx="158">
                  <c:v>41107</c:v>
                </c:pt>
                <c:pt idx="159">
                  <c:v>41108</c:v>
                </c:pt>
                <c:pt idx="160">
                  <c:v>41109</c:v>
                </c:pt>
                <c:pt idx="161">
                  <c:v>41110</c:v>
                </c:pt>
                <c:pt idx="162">
                  <c:v>41113</c:v>
                </c:pt>
                <c:pt idx="163">
                  <c:v>41114</c:v>
                </c:pt>
                <c:pt idx="164">
                  <c:v>41115</c:v>
                </c:pt>
                <c:pt idx="165">
                  <c:v>41116</c:v>
                </c:pt>
                <c:pt idx="166">
                  <c:v>41117</c:v>
                </c:pt>
                <c:pt idx="167">
                  <c:v>41120</c:v>
                </c:pt>
                <c:pt idx="168">
                  <c:v>41121</c:v>
                </c:pt>
                <c:pt idx="169">
                  <c:v>41122</c:v>
                </c:pt>
                <c:pt idx="170">
                  <c:v>41123</c:v>
                </c:pt>
                <c:pt idx="171">
                  <c:v>41124</c:v>
                </c:pt>
                <c:pt idx="172">
                  <c:v>41127</c:v>
                </c:pt>
                <c:pt idx="173">
                  <c:v>41128</c:v>
                </c:pt>
                <c:pt idx="174">
                  <c:v>41129</c:v>
                </c:pt>
                <c:pt idx="175">
                  <c:v>41130</c:v>
                </c:pt>
                <c:pt idx="176">
                  <c:v>41131</c:v>
                </c:pt>
                <c:pt idx="177">
                  <c:v>41134</c:v>
                </c:pt>
                <c:pt idx="178">
                  <c:v>41135</c:v>
                </c:pt>
                <c:pt idx="179">
                  <c:v>41136</c:v>
                </c:pt>
                <c:pt idx="180">
                  <c:v>41137</c:v>
                </c:pt>
                <c:pt idx="181">
                  <c:v>41138</c:v>
                </c:pt>
                <c:pt idx="182">
                  <c:v>41141</c:v>
                </c:pt>
                <c:pt idx="183">
                  <c:v>41142</c:v>
                </c:pt>
                <c:pt idx="184">
                  <c:v>41143</c:v>
                </c:pt>
                <c:pt idx="185">
                  <c:v>41144</c:v>
                </c:pt>
                <c:pt idx="186">
                  <c:v>41145</c:v>
                </c:pt>
                <c:pt idx="187">
                  <c:v>41148</c:v>
                </c:pt>
                <c:pt idx="188">
                  <c:v>41149</c:v>
                </c:pt>
                <c:pt idx="189">
                  <c:v>41150</c:v>
                </c:pt>
                <c:pt idx="190">
                  <c:v>41151</c:v>
                </c:pt>
                <c:pt idx="191">
                  <c:v>41152</c:v>
                </c:pt>
                <c:pt idx="192">
                  <c:v>41155</c:v>
                </c:pt>
                <c:pt idx="193">
                  <c:v>41156</c:v>
                </c:pt>
                <c:pt idx="194">
                  <c:v>41157</c:v>
                </c:pt>
                <c:pt idx="195">
                  <c:v>41158</c:v>
                </c:pt>
                <c:pt idx="196">
                  <c:v>41159</c:v>
                </c:pt>
                <c:pt idx="197">
                  <c:v>41162</c:v>
                </c:pt>
                <c:pt idx="198">
                  <c:v>41163</c:v>
                </c:pt>
                <c:pt idx="199">
                  <c:v>41164</c:v>
                </c:pt>
                <c:pt idx="200">
                  <c:v>41165</c:v>
                </c:pt>
                <c:pt idx="201">
                  <c:v>41166</c:v>
                </c:pt>
                <c:pt idx="202">
                  <c:v>41169</c:v>
                </c:pt>
                <c:pt idx="203">
                  <c:v>41170</c:v>
                </c:pt>
                <c:pt idx="204">
                  <c:v>41171</c:v>
                </c:pt>
                <c:pt idx="205">
                  <c:v>41172</c:v>
                </c:pt>
                <c:pt idx="206">
                  <c:v>41173</c:v>
                </c:pt>
                <c:pt idx="207">
                  <c:v>41176</c:v>
                </c:pt>
                <c:pt idx="208">
                  <c:v>41177</c:v>
                </c:pt>
                <c:pt idx="209">
                  <c:v>41178</c:v>
                </c:pt>
                <c:pt idx="210">
                  <c:v>41179</c:v>
                </c:pt>
                <c:pt idx="211">
                  <c:v>41180</c:v>
                </c:pt>
                <c:pt idx="212">
                  <c:v>41183</c:v>
                </c:pt>
                <c:pt idx="213">
                  <c:v>41184</c:v>
                </c:pt>
                <c:pt idx="214">
                  <c:v>41185</c:v>
                </c:pt>
                <c:pt idx="215">
                  <c:v>41186</c:v>
                </c:pt>
                <c:pt idx="216">
                  <c:v>41187</c:v>
                </c:pt>
                <c:pt idx="217">
                  <c:v>41190</c:v>
                </c:pt>
                <c:pt idx="218">
                  <c:v>41191</c:v>
                </c:pt>
                <c:pt idx="219">
                  <c:v>41192</c:v>
                </c:pt>
                <c:pt idx="220">
                  <c:v>41193</c:v>
                </c:pt>
                <c:pt idx="221">
                  <c:v>41194</c:v>
                </c:pt>
                <c:pt idx="222">
                  <c:v>41197</c:v>
                </c:pt>
                <c:pt idx="223">
                  <c:v>41198</c:v>
                </c:pt>
                <c:pt idx="224">
                  <c:v>41199</c:v>
                </c:pt>
                <c:pt idx="225">
                  <c:v>41200</c:v>
                </c:pt>
                <c:pt idx="226">
                  <c:v>41201</c:v>
                </c:pt>
                <c:pt idx="227">
                  <c:v>41204</c:v>
                </c:pt>
                <c:pt idx="228">
                  <c:v>41205</c:v>
                </c:pt>
                <c:pt idx="229">
                  <c:v>41206</c:v>
                </c:pt>
                <c:pt idx="230">
                  <c:v>41207</c:v>
                </c:pt>
                <c:pt idx="231">
                  <c:v>41208</c:v>
                </c:pt>
                <c:pt idx="232">
                  <c:v>41211</c:v>
                </c:pt>
                <c:pt idx="233">
                  <c:v>41212</c:v>
                </c:pt>
                <c:pt idx="234">
                  <c:v>41213</c:v>
                </c:pt>
                <c:pt idx="235">
                  <c:v>41214</c:v>
                </c:pt>
                <c:pt idx="236">
                  <c:v>41215</c:v>
                </c:pt>
                <c:pt idx="237">
                  <c:v>41218</c:v>
                </c:pt>
                <c:pt idx="238">
                  <c:v>41219</c:v>
                </c:pt>
                <c:pt idx="239">
                  <c:v>41220</c:v>
                </c:pt>
                <c:pt idx="240">
                  <c:v>41221</c:v>
                </c:pt>
                <c:pt idx="241">
                  <c:v>41222</c:v>
                </c:pt>
                <c:pt idx="242">
                  <c:v>41225</c:v>
                </c:pt>
                <c:pt idx="243">
                  <c:v>41226</c:v>
                </c:pt>
                <c:pt idx="244">
                  <c:v>41227</c:v>
                </c:pt>
                <c:pt idx="245">
                  <c:v>41228</c:v>
                </c:pt>
                <c:pt idx="246">
                  <c:v>41229</c:v>
                </c:pt>
                <c:pt idx="247">
                  <c:v>41232</c:v>
                </c:pt>
                <c:pt idx="248">
                  <c:v>41233</c:v>
                </c:pt>
                <c:pt idx="249">
                  <c:v>41234</c:v>
                </c:pt>
                <c:pt idx="250">
                  <c:v>41235</c:v>
                </c:pt>
                <c:pt idx="251">
                  <c:v>41236</c:v>
                </c:pt>
                <c:pt idx="252">
                  <c:v>41239</c:v>
                </c:pt>
                <c:pt idx="253">
                  <c:v>41240</c:v>
                </c:pt>
                <c:pt idx="254">
                  <c:v>41241</c:v>
                </c:pt>
                <c:pt idx="255">
                  <c:v>41242</c:v>
                </c:pt>
                <c:pt idx="256">
                  <c:v>41243</c:v>
                </c:pt>
                <c:pt idx="257">
                  <c:v>41246</c:v>
                </c:pt>
                <c:pt idx="258">
                  <c:v>41247</c:v>
                </c:pt>
                <c:pt idx="259">
                  <c:v>41248</c:v>
                </c:pt>
                <c:pt idx="260">
                  <c:v>41249</c:v>
                </c:pt>
                <c:pt idx="261">
                  <c:v>41250</c:v>
                </c:pt>
                <c:pt idx="262">
                  <c:v>41253</c:v>
                </c:pt>
                <c:pt idx="263">
                  <c:v>41254</c:v>
                </c:pt>
                <c:pt idx="264">
                  <c:v>41255</c:v>
                </c:pt>
                <c:pt idx="265">
                  <c:v>41256</c:v>
                </c:pt>
                <c:pt idx="266">
                  <c:v>41257</c:v>
                </c:pt>
                <c:pt idx="267">
                  <c:v>41260</c:v>
                </c:pt>
                <c:pt idx="268">
                  <c:v>41261</c:v>
                </c:pt>
                <c:pt idx="269">
                  <c:v>41262</c:v>
                </c:pt>
                <c:pt idx="270">
                  <c:v>41263</c:v>
                </c:pt>
                <c:pt idx="271">
                  <c:v>41264</c:v>
                </c:pt>
                <c:pt idx="272">
                  <c:v>41267</c:v>
                </c:pt>
                <c:pt idx="273">
                  <c:v>41270</c:v>
                </c:pt>
                <c:pt idx="274">
                  <c:v>41271</c:v>
                </c:pt>
                <c:pt idx="275">
                  <c:v>41274</c:v>
                </c:pt>
                <c:pt idx="276">
                  <c:v>41276</c:v>
                </c:pt>
                <c:pt idx="277">
                  <c:v>41277</c:v>
                </c:pt>
                <c:pt idx="278">
                  <c:v>41278</c:v>
                </c:pt>
                <c:pt idx="279">
                  <c:v>41281</c:v>
                </c:pt>
                <c:pt idx="280">
                  <c:v>41282</c:v>
                </c:pt>
                <c:pt idx="281">
                  <c:v>41283</c:v>
                </c:pt>
                <c:pt idx="282">
                  <c:v>41284</c:v>
                </c:pt>
                <c:pt idx="283">
                  <c:v>41285</c:v>
                </c:pt>
                <c:pt idx="284">
                  <c:v>41288</c:v>
                </c:pt>
                <c:pt idx="285">
                  <c:v>41289</c:v>
                </c:pt>
                <c:pt idx="286">
                  <c:v>41290</c:v>
                </c:pt>
                <c:pt idx="287">
                  <c:v>41291</c:v>
                </c:pt>
                <c:pt idx="288">
                  <c:v>41292</c:v>
                </c:pt>
                <c:pt idx="289">
                  <c:v>41295</c:v>
                </c:pt>
                <c:pt idx="290">
                  <c:v>41296</c:v>
                </c:pt>
                <c:pt idx="291">
                  <c:v>41297</c:v>
                </c:pt>
                <c:pt idx="292">
                  <c:v>41298</c:v>
                </c:pt>
                <c:pt idx="293">
                  <c:v>41299</c:v>
                </c:pt>
                <c:pt idx="294">
                  <c:v>41302</c:v>
                </c:pt>
                <c:pt idx="295">
                  <c:v>41303</c:v>
                </c:pt>
                <c:pt idx="296">
                  <c:v>41304</c:v>
                </c:pt>
                <c:pt idx="297">
                  <c:v>41305</c:v>
                </c:pt>
                <c:pt idx="298">
                  <c:v>41306</c:v>
                </c:pt>
                <c:pt idx="299">
                  <c:v>41309</c:v>
                </c:pt>
                <c:pt idx="300">
                  <c:v>41310</c:v>
                </c:pt>
                <c:pt idx="301">
                  <c:v>41311</c:v>
                </c:pt>
                <c:pt idx="302">
                  <c:v>41312</c:v>
                </c:pt>
                <c:pt idx="303">
                  <c:v>41313</c:v>
                </c:pt>
                <c:pt idx="304">
                  <c:v>41316</c:v>
                </c:pt>
                <c:pt idx="305">
                  <c:v>41317</c:v>
                </c:pt>
                <c:pt idx="306">
                  <c:v>41318</c:v>
                </c:pt>
                <c:pt idx="307">
                  <c:v>41319</c:v>
                </c:pt>
                <c:pt idx="308">
                  <c:v>41320</c:v>
                </c:pt>
                <c:pt idx="309">
                  <c:v>41323</c:v>
                </c:pt>
                <c:pt idx="310">
                  <c:v>41324</c:v>
                </c:pt>
                <c:pt idx="311">
                  <c:v>41325</c:v>
                </c:pt>
                <c:pt idx="312">
                  <c:v>41326</c:v>
                </c:pt>
                <c:pt idx="313">
                  <c:v>41327</c:v>
                </c:pt>
                <c:pt idx="314">
                  <c:v>41330</c:v>
                </c:pt>
                <c:pt idx="315">
                  <c:v>41331</c:v>
                </c:pt>
                <c:pt idx="316">
                  <c:v>41332</c:v>
                </c:pt>
                <c:pt idx="317">
                  <c:v>41333</c:v>
                </c:pt>
                <c:pt idx="318">
                  <c:v>41334</c:v>
                </c:pt>
                <c:pt idx="319">
                  <c:v>41337</c:v>
                </c:pt>
                <c:pt idx="320">
                  <c:v>41338</c:v>
                </c:pt>
                <c:pt idx="321">
                  <c:v>41339</c:v>
                </c:pt>
                <c:pt idx="322">
                  <c:v>41340</c:v>
                </c:pt>
                <c:pt idx="323">
                  <c:v>41341</c:v>
                </c:pt>
                <c:pt idx="324">
                  <c:v>41344</c:v>
                </c:pt>
                <c:pt idx="325">
                  <c:v>41345</c:v>
                </c:pt>
                <c:pt idx="326">
                  <c:v>41346</c:v>
                </c:pt>
                <c:pt idx="327">
                  <c:v>41347</c:v>
                </c:pt>
                <c:pt idx="328">
                  <c:v>41348</c:v>
                </c:pt>
                <c:pt idx="329">
                  <c:v>41351</c:v>
                </c:pt>
                <c:pt idx="330">
                  <c:v>41352</c:v>
                </c:pt>
                <c:pt idx="331">
                  <c:v>41353</c:v>
                </c:pt>
                <c:pt idx="332">
                  <c:v>41354</c:v>
                </c:pt>
                <c:pt idx="333">
                  <c:v>41355</c:v>
                </c:pt>
                <c:pt idx="334">
                  <c:v>41358</c:v>
                </c:pt>
                <c:pt idx="335">
                  <c:v>41359</c:v>
                </c:pt>
                <c:pt idx="336">
                  <c:v>41360</c:v>
                </c:pt>
                <c:pt idx="337">
                  <c:v>41361</c:v>
                </c:pt>
                <c:pt idx="338">
                  <c:v>41366</c:v>
                </c:pt>
                <c:pt idx="339">
                  <c:v>41367</c:v>
                </c:pt>
                <c:pt idx="340">
                  <c:v>41368</c:v>
                </c:pt>
                <c:pt idx="341">
                  <c:v>41369</c:v>
                </c:pt>
                <c:pt idx="342">
                  <c:v>41372</c:v>
                </c:pt>
                <c:pt idx="343">
                  <c:v>41373</c:v>
                </c:pt>
                <c:pt idx="344">
                  <c:v>41374</c:v>
                </c:pt>
                <c:pt idx="345">
                  <c:v>41375</c:v>
                </c:pt>
                <c:pt idx="346">
                  <c:v>41376</c:v>
                </c:pt>
                <c:pt idx="347">
                  <c:v>41379</c:v>
                </c:pt>
                <c:pt idx="348">
                  <c:v>41380</c:v>
                </c:pt>
                <c:pt idx="349">
                  <c:v>41381</c:v>
                </c:pt>
                <c:pt idx="350">
                  <c:v>41382</c:v>
                </c:pt>
                <c:pt idx="351">
                  <c:v>41383</c:v>
                </c:pt>
                <c:pt idx="352">
                  <c:v>41386</c:v>
                </c:pt>
                <c:pt idx="353">
                  <c:v>41387</c:v>
                </c:pt>
                <c:pt idx="354">
                  <c:v>41388</c:v>
                </c:pt>
                <c:pt idx="355">
                  <c:v>41389</c:v>
                </c:pt>
                <c:pt idx="356">
                  <c:v>41390</c:v>
                </c:pt>
                <c:pt idx="357">
                  <c:v>41393</c:v>
                </c:pt>
                <c:pt idx="358">
                  <c:v>41394</c:v>
                </c:pt>
                <c:pt idx="359">
                  <c:v>41395</c:v>
                </c:pt>
                <c:pt idx="360">
                  <c:v>41396</c:v>
                </c:pt>
                <c:pt idx="361">
                  <c:v>41397</c:v>
                </c:pt>
                <c:pt idx="362">
                  <c:v>41400</c:v>
                </c:pt>
                <c:pt idx="363">
                  <c:v>41401</c:v>
                </c:pt>
                <c:pt idx="364">
                  <c:v>41402</c:v>
                </c:pt>
                <c:pt idx="365">
                  <c:v>41403</c:v>
                </c:pt>
                <c:pt idx="366">
                  <c:v>41404</c:v>
                </c:pt>
                <c:pt idx="367">
                  <c:v>41407</c:v>
                </c:pt>
                <c:pt idx="368">
                  <c:v>41408</c:v>
                </c:pt>
                <c:pt idx="369">
                  <c:v>41409</c:v>
                </c:pt>
                <c:pt idx="370">
                  <c:v>41410</c:v>
                </c:pt>
                <c:pt idx="371">
                  <c:v>41411</c:v>
                </c:pt>
                <c:pt idx="372">
                  <c:v>41414</c:v>
                </c:pt>
                <c:pt idx="373">
                  <c:v>41415</c:v>
                </c:pt>
                <c:pt idx="374">
                  <c:v>41416</c:v>
                </c:pt>
                <c:pt idx="375">
                  <c:v>41417</c:v>
                </c:pt>
                <c:pt idx="376">
                  <c:v>41418</c:v>
                </c:pt>
                <c:pt idx="377">
                  <c:v>41421</c:v>
                </c:pt>
                <c:pt idx="378">
                  <c:v>41422</c:v>
                </c:pt>
                <c:pt idx="379">
                  <c:v>41423</c:v>
                </c:pt>
                <c:pt idx="380">
                  <c:v>41424</c:v>
                </c:pt>
                <c:pt idx="381">
                  <c:v>41425</c:v>
                </c:pt>
                <c:pt idx="382">
                  <c:v>41428</c:v>
                </c:pt>
                <c:pt idx="383">
                  <c:v>41429</c:v>
                </c:pt>
                <c:pt idx="384">
                  <c:v>41430</c:v>
                </c:pt>
                <c:pt idx="385">
                  <c:v>41431</c:v>
                </c:pt>
                <c:pt idx="386">
                  <c:v>41432</c:v>
                </c:pt>
                <c:pt idx="387">
                  <c:v>41435</c:v>
                </c:pt>
                <c:pt idx="388">
                  <c:v>41436</c:v>
                </c:pt>
                <c:pt idx="389">
                  <c:v>41437</c:v>
                </c:pt>
                <c:pt idx="390">
                  <c:v>41438</c:v>
                </c:pt>
                <c:pt idx="391">
                  <c:v>41439</c:v>
                </c:pt>
                <c:pt idx="392">
                  <c:v>41442</c:v>
                </c:pt>
                <c:pt idx="393">
                  <c:v>41443</c:v>
                </c:pt>
                <c:pt idx="394">
                  <c:v>41444</c:v>
                </c:pt>
                <c:pt idx="395">
                  <c:v>41445</c:v>
                </c:pt>
                <c:pt idx="396">
                  <c:v>41446</c:v>
                </c:pt>
                <c:pt idx="397">
                  <c:v>41449</c:v>
                </c:pt>
                <c:pt idx="398">
                  <c:v>41450</c:v>
                </c:pt>
                <c:pt idx="399">
                  <c:v>41451</c:v>
                </c:pt>
                <c:pt idx="400">
                  <c:v>41452</c:v>
                </c:pt>
                <c:pt idx="401">
                  <c:v>41453</c:v>
                </c:pt>
                <c:pt idx="402">
                  <c:v>41456</c:v>
                </c:pt>
                <c:pt idx="403">
                  <c:v>41457</c:v>
                </c:pt>
                <c:pt idx="404">
                  <c:v>41458</c:v>
                </c:pt>
                <c:pt idx="405">
                  <c:v>41459</c:v>
                </c:pt>
                <c:pt idx="406">
                  <c:v>41460</c:v>
                </c:pt>
                <c:pt idx="407">
                  <c:v>41463</c:v>
                </c:pt>
                <c:pt idx="408">
                  <c:v>41464</c:v>
                </c:pt>
                <c:pt idx="409">
                  <c:v>41465</c:v>
                </c:pt>
                <c:pt idx="410">
                  <c:v>41466</c:v>
                </c:pt>
                <c:pt idx="411">
                  <c:v>41467</c:v>
                </c:pt>
                <c:pt idx="412">
                  <c:v>41470</c:v>
                </c:pt>
                <c:pt idx="413">
                  <c:v>41471</c:v>
                </c:pt>
                <c:pt idx="414">
                  <c:v>41472</c:v>
                </c:pt>
                <c:pt idx="415">
                  <c:v>41473</c:v>
                </c:pt>
                <c:pt idx="416">
                  <c:v>41474</c:v>
                </c:pt>
                <c:pt idx="417">
                  <c:v>41477</c:v>
                </c:pt>
                <c:pt idx="418">
                  <c:v>41478</c:v>
                </c:pt>
                <c:pt idx="419">
                  <c:v>41479</c:v>
                </c:pt>
                <c:pt idx="420">
                  <c:v>41480</c:v>
                </c:pt>
                <c:pt idx="421">
                  <c:v>41481</c:v>
                </c:pt>
                <c:pt idx="422">
                  <c:v>41484</c:v>
                </c:pt>
                <c:pt idx="423">
                  <c:v>41485</c:v>
                </c:pt>
                <c:pt idx="424">
                  <c:v>41486</c:v>
                </c:pt>
                <c:pt idx="425">
                  <c:v>41487</c:v>
                </c:pt>
                <c:pt idx="426">
                  <c:v>41488</c:v>
                </c:pt>
                <c:pt idx="427">
                  <c:v>41491</c:v>
                </c:pt>
                <c:pt idx="428">
                  <c:v>41492</c:v>
                </c:pt>
                <c:pt idx="429">
                  <c:v>41493</c:v>
                </c:pt>
                <c:pt idx="430">
                  <c:v>41494</c:v>
                </c:pt>
                <c:pt idx="431">
                  <c:v>41495</c:v>
                </c:pt>
                <c:pt idx="432">
                  <c:v>41498</c:v>
                </c:pt>
                <c:pt idx="433">
                  <c:v>41499</c:v>
                </c:pt>
                <c:pt idx="434">
                  <c:v>41500</c:v>
                </c:pt>
                <c:pt idx="435">
                  <c:v>41501</c:v>
                </c:pt>
                <c:pt idx="436">
                  <c:v>41502</c:v>
                </c:pt>
                <c:pt idx="437">
                  <c:v>41505</c:v>
                </c:pt>
                <c:pt idx="438">
                  <c:v>41506</c:v>
                </c:pt>
                <c:pt idx="439">
                  <c:v>41507</c:v>
                </c:pt>
                <c:pt idx="440">
                  <c:v>41508</c:v>
                </c:pt>
                <c:pt idx="441">
                  <c:v>41509</c:v>
                </c:pt>
                <c:pt idx="442">
                  <c:v>41512</c:v>
                </c:pt>
                <c:pt idx="443">
                  <c:v>41513</c:v>
                </c:pt>
                <c:pt idx="444">
                  <c:v>41514</c:v>
                </c:pt>
                <c:pt idx="445">
                  <c:v>41515</c:v>
                </c:pt>
                <c:pt idx="446">
                  <c:v>41516</c:v>
                </c:pt>
                <c:pt idx="447">
                  <c:v>41519</c:v>
                </c:pt>
                <c:pt idx="448">
                  <c:v>41520</c:v>
                </c:pt>
                <c:pt idx="449">
                  <c:v>41521</c:v>
                </c:pt>
                <c:pt idx="450">
                  <c:v>41522</c:v>
                </c:pt>
                <c:pt idx="451">
                  <c:v>41523</c:v>
                </c:pt>
                <c:pt idx="452">
                  <c:v>41526</c:v>
                </c:pt>
                <c:pt idx="453">
                  <c:v>41527</c:v>
                </c:pt>
                <c:pt idx="454">
                  <c:v>41528</c:v>
                </c:pt>
                <c:pt idx="455">
                  <c:v>41529</c:v>
                </c:pt>
                <c:pt idx="456">
                  <c:v>41530</c:v>
                </c:pt>
                <c:pt idx="457">
                  <c:v>41533</c:v>
                </c:pt>
                <c:pt idx="458">
                  <c:v>41534</c:v>
                </c:pt>
                <c:pt idx="459">
                  <c:v>41535</c:v>
                </c:pt>
                <c:pt idx="460">
                  <c:v>41536</c:v>
                </c:pt>
                <c:pt idx="461">
                  <c:v>41537</c:v>
                </c:pt>
                <c:pt idx="462">
                  <c:v>41540</c:v>
                </c:pt>
                <c:pt idx="463">
                  <c:v>41541</c:v>
                </c:pt>
                <c:pt idx="464">
                  <c:v>41542</c:v>
                </c:pt>
                <c:pt idx="465">
                  <c:v>41543</c:v>
                </c:pt>
                <c:pt idx="466">
                  <c:v>41544</c:v>
                </c:pt>
                <c:pt idx="467">
                  <c:v>41547</c:v>
                </c:pt>
                <c:pt idx="468">
                  <c:v>41548</c:v>
                </c:pt>
                <c:pt idx="469">
                  <c:v>41549</c:v>
                </c:pt>
                <c:pt idx="470">
                  <c:v>41550</c:v>
                </c:pt>
                <c:pt idx="471">
                  <c:v>41551</c:v>
                </c:pt>
                <c:pt idx="472">
                  <c:v>41554</c:v>
                </c:pt>
                <c:pt idx="473">
                  <c:v>41555</c:v>
                </c:pt>
                <c:pt idx="474">
                  <c:v>41556</c:v>
                </c:pt>
                <c:pt idx="475">
                  <c:v>41557</c:v>
                </c:pt>
                <c:pt idx="476">
                  <c:v>41558</c:v>
                </c:pt>
                <c:pt idx="477">
                  <c:v>41561</c:v>
                </c:pt>
                <c:pt idx="478">
                  <c:v>41562</c:v>
                </c:pt>
                <c:pt idx="479">
                  <c:v>41563</c:v>
                </c:pt>
                <c:pt idx="480">
                  <c:v>41564</c:v>
                </c:pt>
                <c:pt idx="481">
                  <c:v>41565</c:v>
                </c:pt>
                <c:pt idx="482">
                  <c:v>41568</c:v>
                </c:pt>
                <c:pt idx="483">
                  <c:v>41569</c:v>
                </c:pt>
                <c:pt idx="484">
                  <c:v>41570</c:v>
                </c:pt>
                <c:pt idx="485">
                  <c:v>41571</c:v>
                </c:pt>
                <c:pt idx="486">
                  <c:v>41572</c:v>
                </c:pt>
                <c:pt idx="487">
                  <c:v>41575</c:v>
                </c:pt>
                <c:pt idx="488">
                  <c:v>41576</c:v>
                </c:pt>
                <c:pt idx="489">
                  <c:v>41577</c:v>
                </c:pt>
                <c:pt idx="490">
                  <c:v>41578</c:v>
                </c:pt>
                <c:pt idx="491">
                  <c:v>41579</c:v>
                </c:pt>
                <c:pt idx="492">
                  <c:v>41582</c:v>
                </c:pt>
                <c:pt idx="493">
                  <c:v>41583</c:v>
                </c:pt>
                <c:pt idx="494">
                  <c:v>41584</c:v>
                </c:pt>
                <c:pt idx="495">
                  <c:v>41585</c:v>
                </c:pt>
                <c:pt idx="496">
                  <c:v>41586</c:v>
                </c:pt>
                <c:pt idx="497">
                  <c:v>41589</c:v>
                </c:pt>
                <c:pt idx="498">
                  <c:v>41590</c:v>
                </c:pt>
                <c:pt idx="499">
                  <c:v>41591</c:v>
                </c:pt>
                <c:pt idx="500">
                  <c:v>41592</c:v>
                </c:pt>
                <c:pt idx="501">
                  <c:v>41593</c:v>
                </c:pt>
                <c:pt idx="502">
                  <c:v>41596</c:v>
                </c:pt>
                <c:pt idx="503">
                  <c:v>41597</c:v>
                </c:pt>
                <c:pt idx="504">
                  <c:v>41598</c:v>
                </c:pt>
                <c:pt idx="505">
                  <c:v>41599</c:v>
                </c:pt>
                <c:pt idx="506">
                  <c:v>41600</c:v>
                </c:pt>
                <c:pt idx="507">
                  <c:v>41603</c:v>
                </c:pt>
                <c:pt idx="508">
                  <c:v>41604</c:v>
                </c:pt>
                <c:pt idx="509">
                  <c:v>41605</c:v>
                </c:pt>
                <c:pt idx="510">
                  <c:v>41606</c:v>
                </c:pt>
                <c:pt idx="511">
                  <c:v>41607</c:v>
                </c:pt>
                <c:pt idx="512">
                  <c:v>41610</c:v>
                </c:pt>
                <c:pt idx="513">
                  <c:v>41611</c:v>
                </c:pt>
                <c:pt idx="514">
                  <c:v>41612</c:v>
                </c:pt>
                <c:pt idx="515">
                  <c:v>41613</c:v>
                </c:pt>
                <c:pt idx="516">
                  <c:v>41614</c:v>
                </c:pt>
                <c:pt idx="517">
                  <c:v>41617</c:v>
                </c:pt>
                <c:pt idx="518">
                  <c:v>41618</c:v>
                </c:pt>
                <c:pt idx="519">
                  <c:v>41619</c:v>
                </c:pt>
                <c:pt idx="520">
                  <c:v>41620</c:v>
                </c:pt>
                <c:pt idx="521">
                  <c:v>41621</c:v>
                </c:pt>
                <c:pt idx="522">
                  <c:v>41624</c:v>
                </c:pt>
                <c:pt idx="523">
                  <c:v>41625</c:v>
                </c:pt>
                <c:pt idx="524">
                  <c:v>41626</c:v>
                </c:pt>
                <c:pt idx="525">
                  <c:v>41627</c:v>
                </c:pt>
                <c:pt idx="526">
                  <c:v>41628</c:v>
                </c:pt>
                <c:pt idx="527">
                  <c:v>41631</c:v>
                </c:pt>
                <c:pt idx="528">
                  <c:v>41632</c:v>
                </c:pt>
                <c:pt idx="529">
                  <c:v>41635</c:v>
                </c:pt>
                <c:pt idx="530">
                  <c:v>41638</c:v>
                </c:pt>
                <c:pt idx="531">
                  <c:v>41639</c:v>
                </c:pt>
                <c:pt idx="532">
                  <c:v>41641</c:v>
                </c:pt>
                <c:pt idx="533">
                  <c:v>41642</c:v>
                </c:pt>
                <c:pt idx="534">
                  <c:v>41645</c:v>
                </c:pt>
                <c:pt idx="535">
                  <c:v>41646</c:v>
                </c:pt>
                <c:pt idx="536">
                  <c:v>41647</c:v>
                </c:pt>
                <c:pt idx="537">
                  <c:v>41648</c:v>
                </c:pt>
                <c:pt idx="538">
                  <c:v>41649</c:v>
                </c:pt>
                <c:pt idx="539">
                  <c:v>41652</c:v>
                </c:pt>
                <c:pt idx="540">
                  <c:v>41653</c:v>
                </c:pt>
                <c:pt idx="541">
                  <c:v>41654</c:v>
                </c:pt>
                <c:pt idx="542">
                  <c:v>41655</c:v>
                </c:pt>
                <c:pt idx="543">
                  <c:v>41656</c:v>
                </c:pt>
                <c:pt idx="544">
                  <c:v>41659</c:v>
                </c:pt>
                <c:pt idx="545">
                  <c:v>41660</c:v>
                </c:pt>
                <c:pt idx="546">
                  <c:v>41661</c:v>
                </c:pt>
                <c:pt idx="547">
                  <c:v>41662</c:v>
                </c:pt>
                <c:pt idx="548">
                  <c:v>41663</c:v>
                </c:pt>
                <c:pt idx="549">
                  <c:v>41666</c:v>
                </c:pt>
                <c:pt idx="550">
                  <c:v>41667</c:v>
                </c:pt>
                <c:pt idx="551">
                  <c:v>41668</c:v>
                </c:pt>
                <c:pt idx="552">
                  <c:v>41669</c:v>
                </c:pt>
                <c:pt idx="553">
                  <c:v>41670</c:v>
                </c:pt>
                <c:pt idx="554">
                  <c:v>41673</c:v>
                </c:pt>
                <c:pt idx="555">
                  <c:v>41674</c:v>
                </c:pt>
                <c:pt idx="556">
                  <c:v>41675</c:v>
                </c:pt>
                <c:pt idx="557">
                  <c:v>41676</c:v>
                </c:pt>
                <c:pt idx="558">
                  <c:v>41677</c:v>
                </c:pt>
                <c:pt idx="559">
                  <c:v>41680</c:v>
                </c:pt>
                <c:pt idx="560">
                  <c:v>41681</c:v>
                </c:pt>
                <c:pt idx="561">
                  <c:v>41682</c:v>
                </c:pt>
                <c:pt idx="562">
                  <c:v>41683</c:v>
                </c:pt>
                <c:pt idx="563">
                  <c:v>41684</c:v>
                </c:pt>
                <c:pt idx="564">
                  <c:v>41687</c:v>
                </c:pt>
                <c:pt idx="565">
                  <c:v>41688</c:v>
                </c:pt>
                <c:pt idx="566">
                  <c:v>41689</c:v>
                </c:pt>
                <c:pt idx="567">
                  <c:v>41690</c:v>
                </c:pt>
                <c:pt idx="568">
                  <c:v>41691</c:v>
                </c:pt>
                <c:pt idx="569">
                  <c:v>41694</c:v>
                </c:pt>
                <c:pt idx="570">
                  <c:v>41695</c:v>
                </c:pt>
                <c:pt idx="571">
                  <c:v>41696</c:v>
                </c:pt>
                <c:pt idx="572">
                  <c:v>41697</c:v>
                </c:pt>
                <c:pt idx="573">
                  <c:v>41698</c:v>
                </c:pt>
                <c:pt idx="574">
                  <c:v>41701</c:v>
                </c:pt>
                <c:pt idx="575">
                  <c:v>41702</c:v>
                </c:pt>
                <c:pt idx="576">
                  <c:v>41703</c:v>
                </c:pt>
                <c:pt idx="577">
                  <c:v>41704</c:v>
                </c:pt>
                <c:pt idx="578">
                  <c:v>41705</c:v>
                </c:pt>
                <c:pt idx="579">
                  <c:v>41708</c:v>
                </c:pt>
                <c:pt idx="580">
                  <c:v>41709</c:v>
                </c:pt>
                <c:pt idx="581">
                  <c:v>41710</c:v>
                </c:pt>
                <c:pt idx="582">
                  <c:v>41711</c:v>
                </c:pt>
                <c:pt idx="583">
                  <c:v>41712</c:v>
                </c:pt>
                <c:pt idx="584">
                  <c:v>41715</c:v>
                </c:pt>
                <c:pt idx="585">
                  <c:v>41716</c:v>
                </c:pt>
                <c:pt idx="586">
                  <c:v>41717</c:v>
                </c:pt>
                <c:pt idx="587">
                  <c:v>41718</c:v>
                </c:pt>
                <c:pt idx="588">
                  <c:v>41719</c:v>
                </c:pt>
                <c:pt idx="589">
                  <c:v>41722</c:v>
                </c:pt>
                <c:pt idx="590">
                  <c:v>41723</c:v>
                </c:pt>
                <c:pt idx="591">
                  <c:v>41724</c:v>
                </c:pt>
                <c:pt idx="592">
                  <c:v>41725</c:v>
                </c:pt>
                <c:pt idx="593">
                  <c:v>41726</c:v>
                </c:pt>
                <c:pt idx="594">
                  <c:v>41729</c:v>
                </c:pt>
                <c:pt idx="595">
                  <c:v>41730</c:v>
                </c:pt>
                <c:pt idx="596">
                  <c:v>41731</c:v>
                </c:pt>
                <c:pt idx="597">
                  <c:v>41732</c:v>
                </c:pt>
                <c:pt idx="598">
                  <c:v>41733</c:v>
                </c:pt>
                <c:pt idx="599">
                  <c:v>41736</c:v>
                </c:pt>
                <c:pt idx="600">
                  <c:v>41737</c:v>
                </c:pt>
                <c:pt idx="601">
                  <c:v>41738</c:v>
                </c:pt>
                <c:pt idx="602">
                  <c:v>41739</c:v>
                </c:pt>
                <c:pt idx="603">
                  <c:v>41740</c:v>
                </c:pt>
                <c:pt idx="604">
                  <c:v>41743</c:v>
                </c:pt>
                <c:pt idx="605">
                  <c:v>41744</c:v>
                </c:pt>
                <c:pt idx="606">
                  <c:v>41745</c:v>
                </c:pt>
                <c:pt idx="607">
                  <c:v>41746</c:v>
                </c:pt>
                <c:pt idx="608">
                  <c:v>41751</c:v>
                </c:pt>
                <c:pt idx="609">
                  <c:v>41752</c:v>
                </c:pt>
                <c:pt idx="610">
                  <c:v>41753</c:v>
                </c:pt>
                <c:pt idx="611">
                  <c:v>41754</c:v>
                </c:pt>
                <c:pt idx="612">
                  <c:v>41757</c:v>
                </c:pt>
                <c:pt idx="613">
                  <c:v>41758</c:v>
                </c:pt>
                <c:pt idx="614">
                  <c:v>41759</c:v>
                </c:pt>
                <c:pt idx="615">
                  <c:v>41760</c:v>
                </c:pt>
                <c:pt idx="616">
                  <c:v>41761</c:v>
                </c:pt>
                <c:pt idx="617">
                  <c:v>41764</c:v>
                </c:pt>
                <c:pt idx="618">
                  <c:v>41765</c:v>
                </c:pt>
                <c:pt idx="619">
                  <c:v>41766</c:v>
                </c:pt>
                <c:pt idx="620">
                  <c:v>41767</c:v>
                </c:pt>
                <c:pt idx="621">
                  <c:v>41768</c:v>
                </c:pt>
                <c:pt idx="622">
                  <c:v>41771</c:v>
                </c:pt>
                <c:pt idx="623">
                  <c:v>41772</c:v>
                </c:pt>
                <c:pt idx="624">
                  <c:v>41773</c:v>
                </c:pt>
                <c:pt idx="625">
                  <c:v>41774</c:v>
                </c:pt>
                <c:pt idx="626">
                  <c:v>41775</c:v>
                </c:pt>
                <c:pt idx="627">
                  <c:v>41778</c:v>
                </c:pt>
                <c:pt idx="628">
                  <c:v>41779</c:v>
                </c:pt>
                <c:pt idx="629">
                  <c:v>41780</c:v>
                </c:pt>
                <c:pt idx="630">
                  <c:v>41781</c:v>
                </c:pt>
                <c:pt idx="631">
                  <c:v>41782</c:v>
                </c:pt>
                <c:pt idx="632">
                  <c:v>41785</c:v>
                </c:pt>
                <c:pt idx="633">
                  <c:v>41786</c:v>
                </c:pt>
                <c:pt idx="634">
                  <c:v>41787</c:v>
                </c:pt>
                <c:pt idx="635">
                  <c:v>41788</c:v>
                </c:pt>
                <c:pt idx="636">
                  <c:v>41789</c:v>
                </c:pt>
                <c:pt idx="637">
                  <c:v>41792</c:v>
                </c:pt>
                <c:pt idx="638">
                  <c:v>41793</c:v>
                </c:pt>
                <c:pt idx="639">
                  <c:v>41794</c:v>
                </c:pt>
                <c:pt idx="640">
                  <c:v>41795</c:v>
                </c:pt>
                <c:pt idx="641">
                  <c:v>41796</c:v>
                </c:pt>
                <c:pt idx="642">
                  <c:v>41799</c:v>
                </c:pt>
                <c:pt idx="643">
                  <c:v>41800</c:v>
                </c:pt>
                <c:pt idx="644">
                  <c:v>41801</c:v>
                </c:pt>
                <c:pt idx="645">
                  <c:v>41802</c:v>
                </c:pt>
                <c:pt idx="646">
                  <c:v>41803</c:v>
                </c:pt>
                <c:pt idx="647">
                  <c:v>41806</c:v>
                </c:pt>
                <c:pt idx="648">
                  <c:v>41807</c:v>
                </c:pt>
                <c:pt idx="649">
                  <c:v>41808</c:v>
                </c:pt>
                <c:pt idx="650">
                  <c:v>41809</c:v>
                </c:pt>
                <c:pt idx="651">
                  <c:v>41810</c:v>
                </c:pt>
                <c:pt idx="652">
                  <c:v>41813</c:v>
                </c:pt>
                <c:pt idx="653">
                  <c:v>41814</c:v>
                </c:pt>
                <c:pt idx="654">
                  <c:v>41815</c:v>
                </c:pt>
                <c:pt idx="655">
                  <c:v>41816</c:v>
                </c:pt>
                <c:pt idx="656">
                  <c:v>41817</c:v>
                </c:pt>
                <c:pt idx="657">
                  <c:v>41820</c:v>
                </c:pt>
                <c:pt idx="658">
                  <c:v>41821</c:v>
                </c:pt>
                <c:pt idx="659">
                  <c:v>41822</c:v>
                </c:pt>
                <c:pt idx="660">
                  <c:v>41823</c:v>
                </c:pt>
                <c:pt idx="661">
                  <c:v>41824</c:v>
                </c:pt>
                <c:pt idx="662">
                  <c:v>41827</c:v>
                </c:pt>
                <c:pt idx="663">
                  <c:v>41828</c:v>
                </c:pt>
                <c:pt idx="664">
                  <c:v>41829</c:v>
                </c:pt>
                <c:pt idx="665">
                  <c:v>41830</c:v>
                </c:pt>
                <c:pt idx="666">
                  <c:v>41831</c:v>
                </c:pt>
                <c:pt idx="667">
                  <c:v>41834</c:v>
                </c:pt>
                <c:pt idx="668">
                  <c:v>41835</c:v>
                </c:pt>
                <c:pt idx="669">
                  <c:v>41836</c:v>
                </c:pt>
                <c:pt idx="670">
                  <c:v>41837</c:v>
                </c:pt>
                <c:pt idx="671">
                  <c:v>41838</c:v>
                </c:pt>
                <c:pt idx="672">
                  <c:v>41841</c:v>
                </c:pt>
                <c:pt idx="673">
                  <c:v>41842</c:v>
                </c:pt>
                <c:pt idx="674">
                  <c:v>41843</c:v>
                </c:pt>
                <c:pt idx="675">
                  <c:v>41844</c:v>
                </c:pt>
                <c:pt idx="676">
                  <c:v>41845</c:v>
                </c:pt>
                <c:pt idx="677">
                  <c:v>41848</c:v>
                </c:pt>
                <c:pt idx="678">
                  <c:v>41849</c:v>
                </c:pt>
                <c:pt idx="679">
                  <c:v>41850</c:v>
                </c:pt>
                <c:pt idx="680">
                  <c:v>41851</c:v>
                </c:pt>
                <c:pt idx="681">
                  <c:v>41852</c:v>
                </c:pt>
                <c:pt idx="682">
                  <c:v>41855</c:v>
                </c:pt>
                <c:pt idx="683">
                  <c:v>41856</c:v>
                </c:pt>
                <c:pt idx="684">
                  <c:v>41857</c:v>
                </c:pt>
                <c:pt idx="685">
                  <c:v>41858</c:v>
                </c:pt>
                <c:pt idx="686">
                  <c:v>41859</c:v>
                </c:pt>
                <c:pt idx="687">
                  <c:v>41862</c:v>
                </c:pt>
                <c:pt idx="688">
                  <c:v>41863</c:v>
                </c:pt>
                <c:pt idx="689">
                  <c:v>41864</c:v>
                </c:pt>
                <c:pt idx="690">
                  <c:v>41865</c:v>
                </c:pt>
                <c:pt idx="691">
                  <c:v>41866</c:v>
                </c:pt>
                <c:pt idx="692">
                  <c:v>41869</c:v>
                </c:pt>
                <c:pt idx="693">
                  <c:v>41870</c:v>
                </c:pt>
                <c:pt idx="694">
                  <c:v>41871</c:v>
                </c:pt>
                <c:pt idx="695">
                  <c:v>41872</c:v>
                </c:pt>
                <c:pt idx="696">
                  <c:v>41873</c:v>
                </c:pt>
                <c:pt idx="697">
                  <c:v>41876</c:v>
                </c:pt>
                <c:pt idx="698">
                  <c:v>41877</c:v>
                </c:pt>
                <c:pt idx="699">
                  <c:v>41878</c:v>
                </c:pt>
                <c:pt idx="700">
                  <c:v>41879</c:v>
                </c:pt>
                <c:pt idx="701">
                  <c:v>41880</c:v>
                </c:pt>
                <c:pt idx="702">
                  <c:v>41883</c:v>
                </c:pt>
                <c:pt idx="703">
                  <c:v>41884</c:v>
                </c:pt>
                <c:pt idx="704">
                  <c:v>41885</c:v>
                </c:pt>
                <c:pt idx="705">
                  <c:v>41886</c:v>
                </c:pt>
                <c:pt idx="706">
                  <c:v>41887</c:v>
                </c:pt>
                <c:pt idx="707">
                  <c:v>41890</c:v>
                </c:pt>
                <c:pt idx="708">
                  <c:v>41891</c:v>
                </c:pt>
                <c:pt idx="709">
                  <c:v>41892</c:v>
                </c:pt>
                <c:pt idx="710">
                  <c:v>41893</c:v>
                </c:pt>
                <c:pt idx="711">
                  <c:v>41894</c:v>
                </c:pt>
                <c:pt idx="712">
                  <c:v>41897</c:v>
                </c:pt>
                <c:pt idx="713">
                  <c:v>41898</c:v>
                </c:pt>
                <c:pt idx="714">
                  <c:v>41899</c:v>
                </c:pt>
                <c:pt idx="715">
                  <c:v>41900</c:v>
                </c:pt>
                <c:pt idx="716">
                  <c:v>41901</c:v>
                </c:pt>
                <c:pt idx="717">
                  <c:v>41904</c:v>
                </c:pt>
                <c:pt idx="718">
                  <c:v>41905</c:v>
                </c:pt>
                <c:pt idx="719">
                  <c:v>41906</c:v>
                </c:pt>
                <c:pt idx="720">
                  <c:v>41907</c:v>
                </c:pt>
                <c:pt idx="721">
                  <c:v>41908</c:v>
                </c:pt>
                <c:pt idx="722">
                  <c:v>41911</c:v>
                </c:pt>
                <c:pt idx="723">
                  <c:v>41912</c:v>
                </c:pt>
                <c:pt idx="724">
                  <c:v>41913</c:v>
                </c:pt>
                <c:pt idx="725">
                  <c:v>41914</c:v>
                </c:pt>
                <c:pt idx="726">
                  <c:v>41915</c:v>
                </c:pt>
                <c:pt idx="727">
                  <c:v>41918</c:v>
                </c:pt>
                <c:pt idx="728">
                  <c:v>41919</c:v>
                </c:pt>
                <c:pt idx="729">
                  <c:v>41920</c:v>
                </c:pt>
                <c:pt idx="730">
                  <c:v>41921</c:v>
                </c:pt>
                <c:pt idx="731">
                  <c:v>41922</c:v>
                </c:pt>
                <c:pt idx="732">
                  <c:v>41925</c:v>
                </c:pt>
                <c:pt idx="733">
                  <c:v>41926</c:v>
                </c:pt>
                <c:pt idx="734">
                  <c:v>41927</c:v>
                </c:pt>
                <c:pt idx="735">
                  <c:v>41928</c:v>
                </c:pt>
                <c:pt idx="736">
                  <c:v>41929</c:v>
                </c:pt>
                <c:pt idx="737">
                  <c:v>41932</c:v>
                </c:pt>
                <c:pt idx="738">
                  <c:v>41933</c:v>
                </c:pt>
                <c:pt idx="739">
                  <c:v>41934</c:v>
                </c:pt>
                <c:pt idx="740">
                  <c:v>41935</c:v>
                </c:pt>
                <c:pt idx="741">
                  <c:v>41936</c:v>
                </c:pt>
                <c:pt idx="742">
                  <c:v>41939</c:v>
                </c:pt>
                <c:pt idx="743">
                  <c:v>41940</c:v>
                </c:pt>
                <c:pt idx="744">
                  <c:v>41941</c:v>
                </c:pt>
                <c:pt idx="745">
                  <c:v>41942</c:v>
                </c:pt>
                <c:pt idx="746">
                  <c:v>41943</c:v>
                </c:pt>
                <c:pt idx="747">
                  <c:v>41946</c:v>
                </c:pt>
                <c:pt idx="748">
                  <c:v>41947</c:v>
                </c:pt>
                <c:pt idx="749">
                  <c:v>41948</c:v>
                </c:pt>
                <c:pt idx="750">
                  <c:v>41949</c:v>
                </c:pt>
                <c:pt idx="751">
                  <c:v>41950</c:v>
                </c:pt>
                <c:pt idx="752">
                  <c:v>41953</c:v>
                </c:pt>
                <c:pt idx="753">
                  <c:v>41954</c:v>
                </c:pt>
                <c:pt idx="754">
                  <c:v>41955</c:v>
                </c:pt>
                <c:pt idx="755">
                  <c:v>41956</c:v>
                </c:pt>
                <c:pt idx="756">
                  <c:v>41957</c:v>
                </c:pt>
                <c:pt idx="757">
                  <c:v>41960</c:v>
                </c:pt>
              </c:numCache>
            </c:numRef>
          </c:cat>
          <c:val>
            <c:numRef>
              <c:f>Sheet1!$B$2:$B$759</c:f>
              <c:numCache>
                <c:formatCode>General</c:formatCode>
                <c:ptCount val="758"/>
                <c:pt idx="0">
                  <c:v>100</c:v>
                </c:pt>
                <c:pt idx="1">
                  <c:v>98.606498014634269</c:v>
                </c:pt>
                <c:pt idx="2">
                  <c:v>98.444172514546864</c:v>
                </c:pt>
                <c:pt idx="3">
                  <c:v>95.582249082236615</c:v>
                </c:pt>
                <c:pt idx="4">
                  <c:v>97.570112129460824</c:v>
                </c:pt>
                <c:pt idx="5">
                  <c:v>94.56084708937891</c:v>
                </c:pt>
                <c:pt idx="6">
                  <c:v>93.429563219539006</c:v>
                </c:pt>
                <c:pt idx="7">
                  <c:v>90.667532402667135</c:v>
                </c:pt>
                <c:pt idx="8">
                  <c:v>91.628998826261792</c:v>
                </c:pt>
                <c:pt idx="9">
                  <c:v>91.996104187997901</c:v>
                </c:pt>
                <c:pt idx="10">
                  <c:v>92.023574657243472</c:v>
                </c:pt>
                <c:pt idx="11">
                  <c:v>94.216217566116427</c:v>
                </c:pt>
                <c:pt idx="12">
                  <c:v>93.39709811952153</c:v>
                </c:pt>
                <c:pt idx="13">
                  <c:v>94.206228304572591</c:v>
                </c:pt>
                <c:pt idx="14">
                  <c:v>94.942936343430816</c:v>
                </c:pt>
                <c:pt idx="15">
                  <c:v>95.212646405114498</c:v>
                </c:pt>
                <c:pt idx="16">
                  <c:v>93.591888719626397</c:v>
                </c:pt>
                <c:pt idx="17">
                  <c:v>94.238693404590066</c:v>
                </c:pt>
                <c:pt idx="18">
                  <c:v>95.444896736008772</c:v>
                </c:pt>
                <c:pt idx="19">
                  <c:v>96.301475913393091</c:v>
                </c:pt>
                <c:pt idx="20">
                  <c:v>98.334290637564621</c:v>
                </c:pt>
                <c:pt idx="21">
                  <c:v>96.923307444497169</c:v>
                </c:pt>
                <c:pt idx="22">
                  <c:v>95.020353120395583</c:v>
                </c:pt>
                <c:pt idx="23">
                  <c:v>94.568339035536809</c:v>
                </c:pt>
                <c:pt idx="24">
                  <c:v>94.298628973853113</c:v>
                </c:pt>
                <c:pt idx="25">
                  <c:v>96.054241690183062</c:v>
                </c:pt>
                <c:pt idx="26">
                  <c:v>95.065304797342876</c:v>
                </c:pt>
                <c:pt idx="27">
                  <c:v>95.804510151587053</c:v>
                </c:pt>
                <c:pt idx="28">
                  <c:v>95.042828958869222</c:v>
                </c:pt>
                <c:pt idx="29">
                  <c:v>95.684639013060959</c:v>
                </c:pt>
                <c:pt idx="30">
                  <c:v>96.885847713707761</c:v>
                </c:pt>
                <c:pt idx="31">
                  <c:v>97.215493344654504</c:v>
                </c:pt>
                <c:pt idx="32">
                  <c:v>98.821267137826823</c:v>
                </c:pt>
                <c:pt idx="33">
                  <c:v>98.718877207002464</c:v>
                </c:pt>
                <c:pt idx="34">
                  <c:v>99.670354369053257</c:v>
                </c:pt>
                <c:pt idx="35">
                  <c:v>99.018555053317698</c:v>
                </c:pt>
                <c:pt idx="36">
                  <c:v>98.369253052968048</c:v>
                </c:pt>
                <c:pt idx="37">
                  <c:v>100.8565791773843</c:v>
                </c:pt>
                <c:pt idx="38">
                  <c:v>99.755263092175909</c:v>
                </c:pt>
                <c:pt idx="39">
                  <c:v>98.361761106810192</c:v>
                </c:pt>
                <c:pt idx="40">
                  <c:v>98.968608745598502</c:v>
                </c:pt>
                <c:pt idx="41">
                  <c:v>101.49089728541819</c:v>
                </c:pt>
                <c:pt idx="42">
                  <c:v>101.4334590315411</c:v>
                </c:pt>
                <c:pt idx="43">
                  <c:v>102.9218590015733</c:v>
                </c:pt>
                <c:pt idx="44">
                  <c:v>102.439877132083</c:v>
                </c:pt>
                <c:pt idx="45">
                  <c:v>103.61361536348426</c:v>
                </c:pt>
                <c:pt idx="46">
                  <c:v>103.41133281722151</c:v>
                </c:pt>
                <c:pt idx="47">
                  <c:v>103.94825562520292</c:v>
                </c:pt>
                <c:pt idx="48">
                  <c:v>102.36745498589018</c:v>
                </c:pt>
                <c:pt idx="49">
                  <c:v>103.19656369402894</c:v>
                </c:pt>
                <c:pt idx="50">
                  <c:v>102.27255700122369</c:v>
                </c:pt>
                <c:pt idx="51">
                  <c:v>102.37994156281998</c:v>
                </c:pt>
                <c:pt idx="52">
                  <c:v>102.190145593487</c:v>
                </c:pt>
                <c:pt idx="53">
                  <c:v>103.71600529430862</c:v>
                </c:pt>
                <c:pt idx="54">
                  <c:v>105.23187573358639</c:v>
                </c:pt>
                <c:pt idx="55">
                  <c:v>104.43273481007918</c:v>
                </c:pt>
                <c:pt idx="56">
                  <c:v>103.52620932497565</c:v>
                </c:pt>
                <c:pt idx="57">
                  <c:v>103.50123617111606</c:v>
                </c:pt>
                <c:pt idx="58">
                  <c:v>104.95467372574483</c:v>
                </c:pt>
                <c:pt idx="59">
                  <c:v>104.29787977923731</c:v>
                </c:pt>
                <c:pt idx="60">
                  <c:v>104.3503234023425</c:v>
                </c:pt>
                <c:pt idx="61">
                  <c:v>104.2179656868866</c:v>
                </c:pt>
                <c:pt idx="62">
                  <c:v>104.76987238718377</c:v>
                </c:pt>
                <c:pt idx="63">
                  <c:v>103.98821267137828</c:v>
                </c:pt>
                <c:pt idx="64">
                  <c:v>103.66356167120347</c:v>
                </c:pt>
                <c:pt idx="65">
                  <c:v>100.04495167694729</c:v>
                </c:pt>
                <c:pt idx="66">
                  <c:v>100.68176710036711</c:v>
                </c:pt>
                <c:pt idx="67">
                  <c:v>103.1541093324676</c:v>
                </c:pt>
                <c:pt idx="68">
                  <c:v>102.52978048597757</c:v>
                </c:pt>
                <c:pt idx="69">
                  <c:v>102.23259995504831</c:v>
                </c:pt>
                <c:pt idx="70">
                  <c:v>103.93826636365905</c:v>
                </c:pt>
                <c:pt idx="71">
                  <c:v>103.32142946332694</c:v>
                </c:pt>
                <c:pt idx="72">
                  <c:v>104.27040930999176</c:v>
                </c:pt>
                <c:pt idx="73">
                  <c:v>105.65392203381367</c:v>
                </c:pt>
                <c:pt idx="74">
                  <c:v>106.65035087281174</c:v>
                </c:pt>
                <c:pt idx="75">
                  <c:v>105.48160727218242</c:v>
                </c:pt>
                <c:pt idx="76">
                  <c:v>104.66498514097347</c:v>
                </c:pt>
                <c:pt idx="77">
                  <c:v>103.42881402492321</c:v>
                </c:pt>
                <c:pt idx="78">
                  <c:v>104.38778313313189</c:v>
                </c:pt>
                <c:pt idx="79">
                  <c:v>105.87118847239219</c:v>
                </c:pt>
                <c:pt idx="80">
                  <c:v>105.56651599530507</c:v>
                </c:pt>
                <c:pt idx="81">
                  <c:v>104.17551132532527</c:v>
                </c:pt>
                <c:pt idx="82">
                  <c:v>102.15518317808356</c:v>
                </c:pt>
                <c:pt idx="83">
                  <c:v>103.74847039432611</c:v>
                </c:pt>
                <c:pt idx="84">
                  <c:v>104.08311065604474</c:v>
                </c:pt>
                <c:pt idx="85">
                  <c:v>103.06670329395899</c:v>
                </c:pt>
                <c:pt idx="86">
                  <c:v>98.216916814424508</c:v>
                </c:pt>
                <c:pt idx="87">
                  <c:v>97.862298029618159</c:v>
                </c:pt>
                <c:pt idx="88">
                  <c:v>95.175186674325104</c:v>
                </c:pt>
                <c:pt idx="89">
                  <c:v>96.124166520989945</c:v>
                </c:pt>
                <c:pt idx="90">
                  <c:v>96.820917513672796</c:v>
                </c:pt>
                <c:pt idx="91">
                  <c:v>94.043902804485171</c:v>
                </c:pt>
                <c:pt idx="92">
                  <c:v>93.966486027520418</c:v>
                </c:pt>
                <c:pt idx="93">
                  <c:v>97.200509452338764</c:v>
                </c:pt>
                <c:pt idx="94">
                  <c:v>95.272581974377545</c:v>
                </c:pt>
                <c:pt idx="95">
                  <c:v>94.048897435257103</c:v>
                </c:pt>
                <c:pt idx="96">
                  <c:v>95.429912843693046</c:v>
                </c:pt>
                <c:pt idx="97">
                  <c:v>92.138451164997619</c:v>
                </c:pt>
                <c:pt idx="98">
                  <c:v>94.723172589466316</c:v>
                </c:pt>
                <c:pt idx="99">
                  <c:v>96.681067852059044</c:v>
                </c:pt>
                <c:pt idx="100">
                  <c:v>96.618634967410031</c:v>
                </c:pt>
                <c:pt idx="101">
                  <c:v>98.134505406687794</c:v>
                </c:pt>
                <c:pt idx="102">
                  <c:v>96.975751067602346</c:v>
                </c:pt>
                <c:pt idx="103">
                  <c:v>96.960767175286563</c:v>
                </c:pt>
                <c:pt idx="104">
                  <c:v>95.479859151412228</c:v>
                </c:pt>
                <c:pt idx="105">
                  <c:v>95.447394051394767</c:v>
                </c:pt>
                <c:pt idx="106">
                  <c:v>93.631845765801771</c:v>
                </c:pt>
                <c:pt idx="107">
                  <c:v>94.341083335414439</c:v>
                </c:pt>
                <c:pt idx="108">
                  <c:v>93.219788727118342</c:v>
                </c:pt>
                <c:pt idx="109">
                  <c:v>92.303273980471005</c:v>
                </c:pt>
                <c:pt idx="110">
                  <c:v>93.526958519591446</c:v>
                </c:pt>
                <c:pt idx="111">
                  <c:v>93.269735034837552</c:v>
                </c:pt>
                <c:pt idx="112">
                  <c:v>90.063182079264777</c:v>
                </c:pt>
                <c:pt idx="113">
                  <c:v>88.719626401618257</c:v>
                </c:pt>
                <c:pt idx="114">
                  <c:v>88.512349224583573</c:v>
                </c:pt>
                <c:pt idx="115">
                  <c:v>87.441000924006701</c:v>
                </c:pt>
                <c:pt idx="116">
                  <c:v>86.82416402367457</c:v>
                </c:pt>
                <c:pt idx="117">
                  <c:v>88.060335139724799</c:v>
                </c:pt>
                <c:pt idx="118">
                  <c:v>89.77099617910747</c:v>
                </c:pt>
                <c:pt idx="119">
                  <c:v>85.927627800114877</c:v>
                </c:pt>
                <c:pt idx="120">
                  <c:v>86.826661339060522</c:v>
                </c:pt>
                <c:pt idx="121">
                  <c:v>86.264765377219504</c:v>
                </c:pt>
                <c:pt idx="122">
                  <c:v>85.99755263092176</c:v>
                </c:pt>
                <c:pt idx="123">
                  <c:v>86.39462577728942</c:v>
                </c:pt>
                <c:pt idx="124">
                  <c:v>84.094598306820174</c:v>
                </c:pt>
                <c:pt idx="125">
                  <c:v>83.357890267961949</c:v>
                </c:pt>
                <c:pt idx="126">
                  <c:v>81.819543990210533</c:v>
                </c:pt>
                <c:pt idx="127">
                  <c:v>82.511300352121481</c:v>
                </c:pt>
                <c:pt idx="128">
                  <c:v>82.164173513473031</c:v>
                </c:pt>
                <c:pt idx="129">
                  <c:v>84.546612391678948</c:v>
                </c:pt>
                <c:pt idx="130">
                  <c:v>85.540543915291053</c:v>
                </c:pt>
                <c:pt idx="131">
                  <c:v>85.190919761256652</c:v>
                </c:pt>
                <c:pt idx="132">
                  <c:v>85.073545938116538</c:v>
                </c:pt>
                <c:pt idx="133">
                  <c:v>84.826311714906495</c:v>
                </c:pt>
                <c:pt idx="134">
                  <c:v>85.135978822765551</c:v>
                </c:pt>
                <c:pt idx="135">
                  <c:v>85.415678145993056</c:v>
                </c:pt>
                <c:pt idx="136">
                  <c:v>87.163798916165121</c:v>
                </c:pt>
                <c:pt idx="137">
                  <c:v>86.144894238693411</c:v>
                </c:pt>
                <c:pt idx="138">
                  <c:v>88.195190170566647</c:v>
                </c:pt>
                <c:pt idx="139">
                  <c:v>89.743525709861899</c:v>
                </c:pt>
                <c:pt idx="140">
                  <c:v>88.837000224758384</c:v>
                </c:pt>
                <c:pt idx="141">
                  <c:v>88.762080763179583</c:v>
                </c:pt>
                <c:pt idx="142">
                  <c:v>86.294733161850999</c:v>
                </c:pt>
                <c:pt idx="143">
                  <c:v>85.802762030816879</c:v>
                </c:pt>
                <c:pt idx="144">
                  <c:v>86.991484154533865</c:v>
                </c:pt>
                <c:pt idx="145">
                  <c:v>86.839147915990324</c:v>
                </c:pt>
                <c:pt idx="146">
                  <c:v>91.966136403366392</c:v>
                </c:pt>
                <c:pt idx="147">
                  <c:v>91.993606872611949</c:v>
                </c:pt>
                <c:pt idx="148">
                  <c:v>92.807731688434927</c:v>
                </c:pt>
                <c:pt idx="149">
                  <c:v>91.911195464875277</c:v>
                </c:pt>
                <c:pt idx="150">
                  <c:v>89.910845840721208</c:v>
                </c:pt>
                <c:pt idx="151">
                  <c:v>88.372499562969821</c:v>
                </c:pt>
                <c:pt idx="152">
                  <c:v>88.167719701321076</c:v>
                </c:pt>
                <c:pt idx="153">
                  <c:v>88.542317009215083</c:v>
                </c:pt>
                <c:pt idx="154">
                  <c:v>88.837000224758384</c:v>
                </c:pt>
                <c:pt idx="155">
                  <c:v>87.231226431586038</c:v>
                </c:pt>
                <c:pt idx="156">
                  <c:v>88.919411632495056</c:v>
                </c:pt>
                <c:pt idx="157">
                  <c:v>88.904427740179301</c:v>
                </c:pt>
                <c:pt idx="158">
                  <c:v>88.429937816846888</c:v>
                </c:pt>
                <c:pt idx="159">
                  <c:v>89.348949878880205</c:v>
                </c:pt>
                <c:pt idx="160">
                  <c:v>89.885872686861632</c:v>
                </c:pt>
                <c:pt idx="161">
                  <c:v>87.016457308393484</c:v>
                </c:pt>
                <c:pt idx="162">
                  <c:v>84.201982868416465</c:v>
                </c:pt>
                <c:pt idx="163">
                  <c:v>82.279050021227192</c:v>
                </c:pt>
                <c:pt idx="164">
                  <c:v>82.508803036735515</c:v>
                </c:pt>
                <c:pt idx="165">
                  <c:v>86.819169392902623</c:v>
                </c:pt>
                <c:pt idx="166">
                  <c:v>88.832005593986452</c:v>
                </c:pt>
                <c:pt idx="167">
                  <c:v>89.366431086581926</c:v>
                </c:pt>
                <c:pt idx="168">
                  <c:v>89.026796194091361</c:v>
                </c:pt>
                <c:pt idx="169">
                  <c:v>88.989336463301953</c:v>
                </c:pt>
                <c:pt idx="170">
                  <c:v>85.680393576904819</c:v>
                </c:pt>
                <c:pt idx="171">
                  <c:v>89.775990809879374</c:v>
                </c:pt>
                <c:pt idx="172">
                  <c:v>91.786329695577265</c:v>
                </c:pt>
                <c:pt idx="173">
                  <c:v>93.364633019504041</c:v>
                </c:pt>
                <c:pt idx="174">
                  <c:v>92.710336388382501</c:v>
                </c:pt>
                <c:pt idx="175">
                  <c:v>92.398171965137493</c:v>
                </c:pt>
                <c:pt idx="176">
                  <c:v>92.108483380366096</c:v>
                </c:pt>
                <c:pt idx="177">
                  <c:v>92.225857203506237</c:v>
                </c:pt>
                <c:pt idx="178">
                  <c:v>93.25974577329373</c:v>
                </c:pt>
                <c:pt idx="179">
                  <c:v>92.887645780785661</c:v>
                </c:pt>
                <c:pt idx="180">
                  <c:v>95.866943036236037</c:v>
                </c:pt>
                <c:pt idx="181">
                  <c:v>96.396373898059593</c:v>
                </c:pt>
                <c:pt idx="182">
                  <c:v>96.101690682516292</c:v>
                </c:pt>
                <c:pt idx="183">
                  <c:v>97.542641660215267</c:v>
                </c:pt>
                <c:pt idx="184">
                  <c:v>96.274005444147534</c:v>
                </c:pt>
                <c:pt idx="185">
                  <c:v>96.401368528831512</c:v>
                </c:pt>
                <c:pt idx="186">
                  <c:v>96.159128936393401</c:v>
                </c:pt>
                <c:pt idx="187">
                  <c:v>96.820917513672796</c:v>
                </c:pt>
                <c:pt idx="188">
                  <c:v>96.501261144269918</c:v>
                </c:pt>
                <c:pt idx="189">
                  <c:v>96.194091351796814</c:v>
                </c:pt>
                <c:pt idx="190">
                  <c:v>95.414928951377291</c:v>
                </c:pt>
                <c:pt idx="191">
                  <c:v>97.018205429163658</c:v>
                </c:pt>
                <c:pt idx="192">
                  <c:v>97.200509452338764</c:v>
                </c:pt>
                <c:pt idx="193">
                  <c:v>96.773468521339566</c:v>
                </c:pt>
                <c:pt idx="194">
                  <c:v>96.726019529006308</c:v>
                </c:pt>
                <c:pt idx="195">
                  <c:v>99.680343630597122</c:v>
                </c:pt>
                <c:pt idx="196">
                  <c:v>101.50338386234796</c:v>
                </c:pt>
                <c:pt idx="197">
                  <c:v>101.4584321854007</c:v>
                </c:pt>
                <c:pt idx="198">
                  <c:v>102.12771270883798</c:v>
                </c:pt>
                <c:pt idx="199">
                  <c:v>103.71850260969457</c:v>
                </c:pt>
                <c:pt idx="200">
                  <c:v>103.05421671702921</c:v>
                </c:pt>
                <c:pt idx="201">
                  <c:v>106.56793946507506</c:v>
                </c:pt>
                <c:pt idx="202">
                  <c:v>106.33568913418077</c:v>
                </c:pt>
                <c:pt idx="203">
                  <c:v>104.59755762555254</c:v>
                </c:pt>
                <c:pt idx="204">
                  <c:v>104.76487775641186</c:v>
                </c:pt>
                <c:pt idx="205">
                  <c:v>103.52121469420372</c:v>
                </c:pt>
                <c:pt idx="206">
                  <c:v>104.73990460255227</c:v>
                </c:pt>
                <c:pt idx="207">
                  <c:v>103.63359388657194</c:v>
                </c:pt>
                <c:pt idx="208">
                  <c:v>103.98072072522039</c:v>
                </c:pt>
                <c:pt idx="209">
                  <c:v>100.73670803885824</c:v>
                </c:pt>
                <c:pt idx="210">
                  <c:v>101.65322278550559</c:v>
                </c:pt>
                <c:pt idx="211">
                  <c:v>100.35461878480636</c:v>
                </c:pt>
                <c:pt idx="212">
                  <c:v>102.00534425492596</c:v>
                </c:pt>
                <c:pt idx="213">
                  <c:v>102.23759458582025</c:v>
                </c:pt>
                <c:pt idx="214">
                  <c:v>101.77808855480359</c:v>
                </c:pt>
                <c:pt idx="215">
                  <c:v>102.38743350897785</c:v>
                </c:pt>
                <c:pt idx="216">
                  <c:v>104.03066703293959</c:v>
                </c:pt>
                <c:pt idx="217">
                  <c:v>102.22510800889044</c:v>
                </c:pt>
                <c:pt idx="218">
                  <c:v>101.24366306220813</c:v>
                </c:pt>
                <c:pt idx="219">
                  <c:v>100.55690133106911</c:v>
                </c:pt>
                <c:pt idx="220">
                  <c:v>101.63574157780388</c:v>
                </c:pt>
                <c:pt idx="221">
                  <c:v>101.30859326224311</c:v>
                </c:pt>
                <c:pt idx="222">
                  <c:v>101.45094023924281</c:v>
                </c:pt>
                <c:pt idx="223">
                  <c:v>104.05314287141326</c:v>
                </c:pt>
                <c:pt idx="224">
                  <c:v>105.86369652623431</c:v>
                </c:pt>
                <c:pt idx="225">
                  <c:v>105.50408311065607</c:v>
                </c:pt>
                <c:pt idx="226">
                  <c:v>103.86584421746623</c:v>
                </c:pt>
                <c:pt idx="227">
                  <c:v>103.80341133281723</c:v>
                </c:pt>
                <c:pt idx="228">
                  <c:v>101.60327647778639</c:v>
                </c:pt>
                <c:pt idx="229">
                  <c:v>102.67462477836327</c:v>
                </c:pt>
                <c:pt idx="230">
                  <c:v>102.57722947831083</c:v>
                </c:pt>
                <c:pt idx="231">
                  <c:v>102.72457108608246</c:v>
                </c:pt>
                <c:pt idx="232">
                  <c:v>101.59328721624252</c:v>
                </c:pt>
                <c:pt idx="233">
                  <c:v>102.8719126938541</c:v>
                </c:pt>
                <c:pt idx="234">
                  <c:v>102.66213820143346</c:v>
                </c:pt>
                <c:pt idx="235">
                  <c:v>103.91579052518543</c:v>
                </c:pt>
                <c:pt idx="236">
                  <c:v>103.1166496016782</c:v>
                </c:pt>
                <c:pt idx="237">
                  <c:v>101.50588117773394</c:v>
                </c:pt>
                <c:pt idx="238">
                  <c:v>102.20762680118871</c:v>
                </c:pt>
                <c:pt idx="239">
                  <c:v>100.19728791549085</c:v>
                </c:pt>
                <c:pt idx="240">
                  <c:v>99.138426191843791</c:v>
                </c:pt>
                <c:pt idx="241">
                  <c:v>98.389231576055749</c:v>
                </c:pt>
                <c:pt idx="242">
                  <c:v>97.997153060460008</c:v>
                </c:pt>
                <c:pt idx="243">
                  <c:v>98.571535599230813</c:v>
                </c:pt>
                <c:pt idx="244">
                  <c:v>98.189446345178936</c:v>
                </c:pt>
                <c:pt idx="245">
                  <c:v>98.109532252828203</c:v>
                </c:pt>
                <c:pt idx="246">
                  <c:v>96.368903428814022</c:v>
                </c:pt>
                <c:pt idx="247">
                  <c:v>99.088479884124567</c:v>
                </c:pt>
                <c:pt idx="248">
                  <c:v>99.178383238019137</c:v>
                </c:pt>
                <c:pt idx="249">
                  <c:v>99.83018255375471</c:v>
                </c:pt>
                <c:pt idx="250">
                  <c:v>100.94148790050697</c:v>
                </c:pt>
                <c:pt idx="251">
                  <c:v>102.24258921659217</c:v>
                </c:pt>
                <c:pt idx="252">
                  <c:v>101.69068251629498</c:v>
                </c:pt>
                <c:pt idx="253">
                  <c:v>101.50837849311991</c:v>
                </c:pt>
                <c:pt idx="254">
                  <c:v>101.19371675448893</c:v>
                </c:pt>
                <c:pt idx="255">
                  <c:v>103.36638114027423</c:v>
                </c:pt>
                <c:pt idx="256">
                  <c:v>103.32892140948479</c:v>
                </c:pt>
                <c:pt idx="257">
                  <c:v>103.78842744050148</c:v>
                </c:pt>
                <c:pt idx="258">
                  <c:v>104.15803011762357</c:v>
                </c:pt>
                <c:pt idx="259">
                  <c:v>104.18300327148317</c:v>
                </c:pt>
                <c:pt idx="260">
                  <c:v>103.25150463252004</c:v>
                </c:pt>
                <c:pt idx="261">
                  <c:v>102.73206303224036</c:v>
                </c:pt>
                <c:pt idx="262">
                  <c:v>102.72956571685438</c:v>
                </c:pt>
                <c:pt idx="263">
                  <c:v>104.05564018679921</c:v>
                </c:pt>
                <c:pt idx="264">
                  <c:v>105.20440526434083</c:v>
                </c:pt>
                <c:pt idx="265">
                  <c:v>105.7013710261469</c:v>
                </c:pt>
                <c:pt idx="266">
                  <c:v>105.97857303398845</c:v>
                </c:pt>
                <c:pt idx="267">
                  <c:v>106.85513073446045</c:v>
                </c:pt>
                <c:pt idx="268">
                  <c:v>108.05134480433534</c:v>
                </c:pt>
                <c:pt idx="269">
                  <c:v>109.42986289738531</c:v>
                </c:pt>
                <c:pt idx="270">
                  <c:v>109.19761256649103</c:v>
                </c:pt>
                <c:pt idx="271">
                  <c:v>108.70813875084286</c:v>
                </c:pt>
                <c:pt idx="272">
                  <c:v>108.49586694303623</c:v>
                </c:pt>
                <c:pt idx="273">
                  <c:v>108.77057163549185</c:v>
                </c:pt>
                <c:pt idx="274">
                  <c:v>107.85655420423046</c:v>
                </c:pt>
                <c:pt idx="275">
                  <c:v>107.92647903503733</c:v>
                </c:pt>
                <c:pt idx="276">
                  <c:v>111.0331393751717</c:v>
                </c:pt>
                <c:pt idx="277">
                  <c:v>110.3438803286467</c:v>
                </c:pt>
                <c:pt idx="278">
                  <c:v>110.25897160552407</c:v>
                </c:pt>
                <c:pt idx="279">
                  <c:v>110.63356891341809</c:v>
                </c:pt>
                <c:pt idx="280">
                  <c:v>110.11162999775243</c:v>
                </c:pt>
                <c:pt idx="281">
                  <c:v>111.28037359838174</c:v>
                </c:pt>
                <c:pt idx="282">
                  <c:v>112.23684539120447</c:v>
                </c:pt>
                <c:pt idx="283">
                  <c:v>113.16584671478161</c:v>
                </c:pt>
                <c:pt idx="284">
                  <c:v>112.65889169143171</c:v>
                </c:pt>
                <c:pt idx="285">
                  <c:v>113.00102389930824</c:v>
                </c:pt>
                <c:pt idx="286">
                  <c:v>112.96356416851884</c:v>
                </c:pt>
                <c:pt idx="287">
                  <c:v>113.88507354593811</c:v>
                </c:pt>
                <c:pt idx="288">
                  <c:v>113.33316684564095</c:v>
                </c:pt>
                <c:pt idx="289">
                  <c:v>113.94251179981521</c:v>
                </c:pt>
                <c:pt idx="290">
                  <c:v>113.51047623804409</c:v>
                </c:pt>
                <c:pt idx="291">
                  <c:v>113.56791449192119</c:v>
                </c:pt>
                <c:pt idx="292">
                  <c:v>114.6817171540594</c:v>
                </c:pt>
                <c:pt idx="293">
                  <c:v>116.01778088554804</c:v>
                </c:pt>
                <c:pt idx="294">
                  <c:v>115.55078290837351</c:v>
                </c:pt>
                <c:pt idx="295">
                  <c:v>116.09769497789874</c:v>
                </c:pt>
                <c:pt idx="296">
                  <c:v>116.2325500087406</c:v>
                </c:pt>
                <c:pt idx="297">
                  <c:v>115.45588492370702</c:v>
                </c:pt>
                <c:pt idx="298">
                  <c:v>116.22505806258272</c:v>
                </c:pt>
                <c:pt idx="299">
                  <c:v>113.16584671478161</c:v>
                </c:pt>
                <c:pt idx="300">
                  <c:v>114.06238293834127</c:v>
                </c:pt>
                <c:pt idx="301">
                  <c:v>114.28464400769174</c:v>
                </c:pt>
                <c:pt idx="302">
                  <c:v>112.89863396848389</c:v>
                </c:pt>
                <c:pt idx="303">
                  <c:v>114.39202856928803</c:v>
                </c:pt>
                <c:pt idx="304">
                  <c:v>113.62785006118423</c:v>
                </c:pt>
                <c:pt idx="305">
                  <c:v>115.18867217740929</c:v>
                </c:pt>
                <c:pt idx="306">
                  <c:v>115.83547686237297</c:v>
                </c:pt>
                <c:pt idx="307">
                  <c:v>115.34100841595286</c:v>
                </c:pt>
                <c:pt idx="308">
                  <c:v>115.11375271583049</c:v>
                </c:pt>
                <c:pt idx="309">
                  <c:v>114.87151312339236</c:v>
                </c:pt>
                <c:pt idx="310">
                  <c:v>116.30996678570537</c:v>
                </c:pt>
                <c:pt idx="311">
                  <c:v>116.04774867017954</c:v>
                </c:pt>
                <c:pt idx="312">
                  <c:v>113.04847289164148</c:v>
                </c:pt>
                <c:pt idx="313">
                  <c:v>114.16477286916565</c:v>
                </c:pt>
                <c:pt idx="314">
                  <c:v>114.20223259995505</c:v>
                </c:pt>
                <c:pt idx="315">
                  <c:v>111.76235546787203</c:v>
                </c:pt>
                <c:pt idx="316">
                  <c:v>113.08093799165897</c:v>
                </c:pt>
                <c:pt idx="317">
                  <c:v>113.82264066128911</c:v>
                </c:pt>
                <c:pt idx="318">
                  <c:v>112.78625477611568</c:v>
                </c:pt>
                <c:pt idx="319">
                  <c:v>113.39559973028994</c:v>
                </c:pt>
                <c:pt idx="320">
                  <c:v>115.50333391604026</c:v>
                </c:pt>
                <c:pt idx="321">
                  <c:v>114.63676547711212</c:v>
                </c:pt>
                <c:pt idx="322">
                  <c:v>115.42341982368953</c:v>
                </c:pt>
                <c:pt idx="323">
                  <c:v>115.60322653147867</c:v>
                </c:pt>
                <c:pt idx="324">
                  <c:v>115.38596009290015</c:v>
                </c:pt>
                <c:pt idx="325">
                  <c:v>115.41093324675973</c:v>
                </c:pt>
                <c:pt idx="326">
                  <c:v>114.86152386184854</c:v>
                </c:pt>
                <c:pt idx="327">
                  <c:v>116.71203456284496</c:v>
                </c:pt>
                <c:pt idx="328">
                  <c:v>117.12908623230027</c:v>
                </c:pt>
                <c:pt idx="329">
                  <c:v>115.7380815623205</c:v>
                </c:pt>
                <c:pt idx="330">
                  <c:v>114.56933796169118</c:v>
                </c:pt>
                <c:pt idx="331">
                  <c:v>115.99280773168846</c:v>
                </c:pt>
                <c:pt idx="332">
                  <c:v>115.67315136228554</c:v>
                </c:pt>
                <c:pt idx="333">
                  <c:v>116.38238893189821</c:v>
                </c:pt>
                <c:pt idx="334">
                  <c:v>114.956421846515</c:v>
                </c:pt>
                <c:pt idx="335">
                  <c:v>113.9874634767625</c:v>
                </c:pt>
                <c:pt idx="336">
                  <c:v>112.00709237569613</c:v>
                </c:pt>
                <c:pt idx="337">
                  <c:v>113.11839772244836</c:v>
                </c:pt>
                <c:pt idx="338">
                  <c:v>114.56933796169118</c:v>
                </c:pt>
                <c:pt idx="339">
                  <c:v>113.35064805334267</c:v>
                </c:pt>
                <c:pt idx="340">
                  <c:v>112.87116349923834</c:v>
                </c:pt>
                <c:pt idx="341">
                  <c:v>113.14337087630797</c:v>
                </c:pt>
                <c:pt idx="342">
                  <c:v>113.03598631471168</c:v>
                </c:pt>
                <c:pt idx="343">
                  <c:v>114.80158829258546</c:v>
                </c:pt>
                <c:pt idx="344">
                  <c:v>117.53614864021178</c:v>
                </c:pt>
                <c:pt idx="345">
                  <c:v>119.12693854106837</c:v>
                </c:pt>
                <c:pt idx="346">
                  <c:v>118.68990834852534</c:v>
                </c:pt>
                <c:pt idx="347">
                  <c:v>117.82583722498315</c:v>
                </c:pt>
                <c:pt idx="348">
                  <c:v>116.68706140898534</c:v>
                </c:pt>
                <c:pt idx="349">
                  <c:v>114.10483729990261</c:v>
                </c:pt>
                <c:pt idx="350">
                  <c:v>113.9749768998327</c:v>
                </c:pt>
                <c:pt idx="351">
                  <c:v>114.37454736158629</c:v>
                </c:pt>
                <c:pt idx="352">
                  <c:v>114.82656144644507</c:v>
                </c:pt>
                <c:pt idx="353">
                  <c:v>116.98174462452864</c:v>
                </c:pt>
                <c:pt idx="354">
                  <c:v>118.10553654821068</c:v>
                </c:pt>
                <c:pt idx="355">
                  <c:v>119.44659491047125</c:v>
                </c:pt>
                <c:pt idx="356">
                  <c:v>119.31423719501535</c:v>
                </c:pt>
                <c:pt idx="357">
                  <c:v>121.02489823439804</c:v>
                </c:pt>
                <c:pt idx="358">
                  <c:v>122.1786579427116</c:v>
                </c:pt>
                <c:pt idx="359">
                  <c:v>122.44087605823741</c:v>
                </c:pt>
                <c:pt idx="360">
                  <c:v>121.13478011138028</c:v>
                </c:pt>
                <c:pt idx="361">
                  <c:v>123.44729415877931</c:v>
                </c:pt>
                <c:pt idx="362">
                  <c:v>122.95532302774521</c:v>
                </c:pt>
                <c:pt idx="363">
                  <c:v>123.43730489723548</c:v>
                </c:pt>
                <c:pt idx="364">
                  <c:v>125.18292835202158</c:v>
                </c:pt>
                <c:pt idx="365">
                  <c:v>124.29638139000576</c:v>
                </c:pt>
                <c:pt idx="366">
                  <c:v>123.49724046649851</c:v>
                </c:pt>
                <c:pt idx="367">
                  <c:v>123.42981295107758</c:v>
                </c:pt>
                <c:pt idx="368">
                  <c:v>123.16010288939393</c:v>
                </c:pt>
                <c:pt idx="369">
                  <c:v>122.99278275853457</c:v>
                </c:pt>
                <c:pt idx="370">
                  <c:v>123.68953375121745</c:v>
                </c:pt>
                <c:pt idx="371">
                  <c:v>123.12763778937644</c:v>
                </c:pt>
                <c:pt idx="372">
                  <c:v>123.76944784356819</c:v>
                </c:pt>
                <c:pt idx="373">
                  <c:v>123.87183777439252</c:v>
                </c:pt>
                <c:pt idx="374">
                  <c:v>124.26141897460229</c:v>
                </c:pt>
                <c:pt idx="375">
                  <c:v>121.94141298104539</c:v>
                </c:pt>
                <c:pt idx="376">
                  <c:v>122.04630022725571</c:v>
                </c:pt>
                <c:pt idx="377">
                  <c:v>122.55824988137753</c:v>
                </c:pt>
                <c:pt idx="378">
                  <c:v>122.83295457383315</c:v>
                </c:pt>
                <c:pt idx="379">
                  <c:v>121.93142371950152</c:v>
                </c:pt>
                <c:pt idx="380">
                  <c:v>122.52328746597409</c:v>
                </c:pt>
                <c:pt idx="381">
                  <c:v>119.9510526184352</c:v>
                </c:pt>
                <c:pt idx="382">
                  <c:v>119.60892041055867</c:v>
                </c:pt>
                <c:pt idx="383">
                  <c:v>120.29817945708363</c:v>
                </c:pt>
                <c:pt idx="384">
                  <c:v>118.33528956371902</c:v>
                </c:pt>
                <c:pt idx="385">
                  <c:v>118.41270634068377</c:v>
                </c:pt>
                <c:pt idx="386">
                  <c:v>120.48547811103063</c:v>
                </c:pt>
                <c:pt idx="387">
                  <c:v>119.84866268761083</c:v>
                </c:pt>
                <c:pt idx="388">
                  <c:v>118.85972579477063</c:v>
                </c:pt>
                <c:pt idx="389">
                  <c:v>119.38166471043627</c:v>
                </c:pt>
                <c:pt idx="390">
                  <c:v>119.27677746422596</c:v>
                </c:pt>
                <c:pt idx="391">
                  <c:v>120.28569288015385</c:v>
                </c:pt>
                <c:pt idx="392">
                  <c:v>121.56931298853732</c:v>
                </c:pt>
                <c:pt idx="393">
                  <c:v>122.11372774267663</c:v>
                </c:pt>
                <c:pt idx="394">
                  <c:v>121.54184251929175</c:v>
                </c:pt>
                <c:pt idx="395">
                  <c:v>115.76305471618011</c:v>
                </c:pt>
                <c:pt idx="396">
                  <c:v>113.66530979197363</c:v>
                </c:pt>
                <c:pt idx="397">
                  <c:v>111.60002996778462</c:v>
                </c:pt>
                <c:pt idx="398">
                  <c:v>112.766276253028</c:v>
                </c:pt>
                <c:pt idx="399">
                  <c:v>113.50797892265815</c:v>
                </c:pt>
                <c:pt idx="400">
                  <c:v>114.10483729990261</c:v>
                </c:pt>
                <c:pt idx="401">
                  <c:v>113.79766750742952</c:v>
                </c:pt>
                <c:pt idx="402">
                  <c:v>116.27999900107386</c:v>
                </c:pt>
                <c:pt idx="403">
                  <c:v>116.00279699323228</c:v>
                </c:pt>
                <c:pt idx="404">
                  <c:v>114.97140573883078</c:v>
                </c:pt>
                <c:pt idx="405">
                  <c:v>116.54970906275754</c:v>
                </c:pt>
                <c:pt idx="406">
                  <c:v>114.63177084634017</c:v>
                </c:pt>
                <c:pt idx="407">
                  <c:v>116.65959093973979</c:v>
                </c:pt>
                <c:pt idx="408">
                  <c:v>116.67956946282747</c:v>
                </c:pt>
                <c:pt idx="409">
                  <c:v>117.19151911694927</c:v>
                </c:pt>
                <c:pt idx="410">
                  <c:v>119.00956471792823</c:v>
                </c:pt>
                <c:pt idx="411">
                  <c:v>117.52615937866796</c:v>
                </c:pt>
                <c:pt idx="412">
                  <c:v>117.79087480957972</c:v>
                </c:pt>
                <c:pt idx="413">
                  <c:v>118.17046674824563</c:v>
                </c:pt>
                <c:pt idx="414">
                  <c:v>118.44517144070126</c:v>
                </c:pt>
                <c:pt idx="415">
                  <c:v>120.0809130185051</c:v>
                </c:pt>
                <c:pt idx="416">
                  <c:v>120.82761031890719</c:v>
                </c:pt>
                <c:pt idx="417">
                  <c:v>121.35704118073072</c:v>
                </c:pt>
                <c:pt idx="418">
                  <c:v>121.7216492270809</c:v>
                </c:pt>
                <c:pt idx="419">
                  <c:v>122.69060759683343</c:v>
                </c:pt>
                <c:pt idx="420">
                  <c:v>122.50580625827237</c:v>
                </c:pt>
                <c:pt idx="421">
                  <c:v>122.96531228928902</c:v>
                </c:pt>
                <c:pt idx="422">
                  <c:v>122.95282571235921</c:v>
                </c:pt>
                <c:pt idx="423">
                  <c:v>123.68953375121745</c:v>
                </c:pt>
                <c:pt idx="424">
                  <c:v>123.30744449716555</c:v>
                </c:pt>
                <c:pt idx="425">
                  <c:v>124.30637065154961</c:v>
                </c:pt>
                <c:pt idx="426">
                  <c:v>125.76730015233623</c:v>
                </c:pt>
                <c:pt idx="427">
                  <c:v>126.05199410633571</c:v>
                </c:pt>
                <c:pt idx="428">
                  <c:v>125.43265989061759</c:v>
                </c:pt>
                <c:pt idx="429">
                  <c:v>125.5500337137577</c:v>
                </c:pt>
                <c:pt idx="430">
                  <c:v>127.12084509152662</c:v>
                </c:pt>
                <c:pt idx="431">
                  <c:v>127.22073770696502</c:v>
                </c:pt>
                <c:pt idx="432">
                  <c:v>126.12191893714257</c:v>
                </c:pt>
                <c:pt idx="433">
                  <c:v>125.66491022151189</c:v>
                </c:pt>
                <c:pt idx="434">
                  <c:v>126.80618335289564</c:v>
                </c:pt>
                <c:pt idx="435">
                  <c:v>125.2878155982319</c:v>
                </c:pt>
                <c:pt idx="436">
                  <c:v>126.48902429887872</c:v>
                </c:pt>
                <c:pt idx="437">
                  <c:v>125.93462028319556</c:v>
                </c:pt>
                <c:pt idx="438">
                  <c:v>125.33026995979324</c:v>
                </c:pt>
                <c:pt idx="439">
                  <c:v>124.44622031316337</c:v>
                </c:pt>
                <c:pt idx="440">
                  <c:v>125.66241290612592</c:v>
                </c:pt>
                <c:pt idx="441">
                  <c:v>126.9035786529481</c:v>
                </c:pt>
                <c:pt idx="442">
                  <c:v>126.06947531403743</c:v>
                </c:pt>
                <c:pt idx="443">
                  <c:v>123.41732637414779</c:v>
                </c:pt>
                <c:pt idx="444">
                  <c:v>122.63316934295634</c:v>
                </c:pt>
                <c:pt idx="445">
                  <c:v>122.62318008141247</c:v>
                </c:pt>
                <c:pt idx="446">
                  <c:v>120.9449841420473</c:v>
                </c:pt>
                <c:pt idx="447">
                  <c:v>123.1675948355518</c:v>
                </c:pt>
                <c:pt idx="448">
                  <c:v>122.50081162750044</c:v>
                </c:pt>
                <c:pt idx="449">
                  <c:v>122.86791698923656</c:v>
                </c:pt>
                <c:pt idx="450">
                  <c:v>123.28746597407789</c:v>
                </c:pt>
                <c:pt idx="451">
                  <c:v>124.59106460554901</c:v>
                </c:pt>
                <c:pt idx="452">
                  <c:v>125.85470619084485</c:v>
                </c:pt>
                <c:pt idx="453">
                  <c:v>127.44799340708737</c:v>
                </c:pt>
                <c:pt idx="454">
                  <c:v>128.53432559998006</c:v>
                </c:pt>
                <c:pt idx="455">
                  <c:v>128.60425043078689</c:v>
                </c:pt>
                <c:pt idx="456">
                  <c:v>128.03735983817398</c:v>
                </c:pt>
                <c:pt idx="457">
                  <c:v>130.11013160852085</c:v>
                </c:pt>
                <c:pt idx="458">
                  <c:v>129.97277926229305</c:v>
                </c:pt>
                <c:pt idx="459">
                  <c:v>129.91284369303</c:v>
                </c:pt>
                <c:pt idx="460">
                  <c:v>131.56606647853556</c:v>
                </c:pt>
                <c:pt idx="461">
                  <c:v>130.51219938566044</c:v>
                </c:pt>
                <c:pt idx="462">
                  <c:v>130.1950403316435</c:v>
                </c:pt>
                <c:pt idx="463">
                  <c:v>131.10156581674701</c:v>
                </c:pt>
                <c:pt idx="464">
                  <c:v>131.59853157855309</c:v>
                </c:pt>
                <c:pt idx="465">
                  <c:v>131.52361211697422</c:v>
                </c:pt>
                <c:pt idx="466">
                  <c:v>131.93566915565768</c:v>
                </c:pt>
                <c:pt idx="467">
                  <c:v>131.06160877057164</c:v>
                </c:pt>
                <c:pt idx="468">
                  <c:v>132.80723222535772</c:v>
                </c:pt>
                <c:pt idx="469">
                  <c:v>133.23926778712885</c:v>
                </c:pt>
                <c:pt idx="470">
                  <c:v>132.80972954074369</c:v>
                </c:pt>
                <c:pt idx="471">
                  <c:v>133.2792248333042</c:v>
                </c:pt>
                <c:pt idx="472">
                  <c:v>133.02699597932221</c:v>
                </c:pt>
                <c:pt idx="473">
                  <c:v>132.71233424069126</c:v>
                </c:pt>
                <c:pt idx="474">
                  <c:v>132.290287940464</c:v>
                </c:pt>
                <c:pt idx="475">
                  <c:v>134.32060534924958</c:v>
                </c:pt>
                <c:pt idx="476">
                  <c:v>134.52288789551233</c:v>
                </c:pt>
                <c:pt idx="477">
                  <c:v>135.58424693454535</c:v>
                </c:pt>
                <c:pt idx="478">
                  <c:v>135.94386035012363</c:v>
                </c:pt>
                <c:pt idx="479">
                  <c:v>136.8079314736658</c:v>
                </c:pt>
                <c:pt idx="480">
                  <c:v>138.78830257473217</c:v>
                </c:pt>
                <c:pt idx="481">
                  <c:v>140.13435556776466</c:v>
                </c:pt>
                <c:pt idx="482">
                  <c:v>140.56389381414979</c:v>
                </c:pt>
                <c:pt idx="483">
                  <c:v>141.77259446095448</c:v>
                </c:pt>
                <c:pt idx="484">
                  <c:v>140.50645556027271</c:v>
                </c:pt>
                <c:pt idx="485">
                  <c:v>141.79257298404215</c:v>
                </c:pt>
                <c:pt idx="486">
                  <c:v>141.09582199135932</c:v>
                </c:pt>
                <c:pt idx="487">
                  <c:v>140.72871662962314</c:v>
                </c:pt>
                <c:pt idx="488">
                  <c:v>141.75511325325274</c:v>
                </c:pt>
                <c:pt idx="489">
                  <c:v>141.24066628374499</c:v>
                </c:pt>
                <c:pt idx="490">
                  <c:v>140.53642334490422</c:v>
                </c:pt>
                <c:pt idx="491">
                  <c:v>138.89318982094247</c:v>
                </c:pt>
                <c:pt idx="492">
                  <c:v>139.44509652123966</c:v>
                </c:pt>
                <c:pt idx="493">
                  <c:v>138.31381265139976</c:v>
                </c:pt>
                <c:pt idx="494">
                  <c:v>139.51002672127467</c:v>
                </c:pt>
                <c:pt idx="495">
                  <c:v>137.2099992508054</c:v>
                </c:pt>
                <c:pt idx="496">
                  <c:v>136.81792073520967</c:v>
                </c:pt>
                <c:pt idx="497">
                  <c:v>136.9452838198936</c:v>
                </c:pt>
                <c:pt idx="498">
                  <c:v>136.56319456584174</c:v>
                </c:pt>
                <c:pt idx="499">
                  <c:v>135.52930599605426</c:v>
                </c:pt>
                <c:pt idx="500">
                  <c:v>136.74050395824486</c:v>
                </c:pt>
                <c:pt idx="501">
                  <c:v>137.08263616612143</c:v>
                </c:pt>
                <c:pt idx="502">
                  <c:v>138.92066029018807</c:v>
                </c:pt>
                <c:pt idx="503">
                  <c:v>137.62455360487479</c:v>
                </c:pt>
                <c:pt idx="504">
                  <c:v>136.66058986589417</c:v>
                </c:pt>
                <c:pt idx="505">
                  <c:v>136.60814624278899</c:v>
                </c:pt>
                <c:pt idx="506">
                  <c:v>137.27992408161228</c:v>
                </c:pt>
                <c:pt idx="507">
                  <c:v>137.49968783557676</c:v>
                </c:pt>
                <c:pt idx="508">
                  <c:v>137.42227105861201</c:v>
                </c:pt>
                <c:pt idx="509">
                  <c:v>138.83325425167945</c:v>
                </c:pt>
                <c:pt idx="510">
                  <c:v>139.487550882801</c:v>
                </c:pt>
                <c:pt idx="511">
                  <c:v>139.51502135204655</c:v>
                </c:pt>
                <c:pt idx="512">
                  <c:v>137.99915091276881</c:v>
                </c:pt>
                <c:pt idx="513">
                  <c:v>136.30097645031589</c:v>
                </c:pt>
                <c:pt idx="514">
                  <c:v>135.37197512673879</c:v>
                </c:pt>
                <c:pt idx="515">
                  <c:v>135.29955298054591</c:v>
                </c:pt>
                <c:pt idx="516">
                  <c:v>136.15613215793024</c:v>
                </c:pt>
                <c:pt idx="517">
                  <c:v>137.35983817396297</c:v>
                </c:pt>
                <c:pt idx="518">
                  <c:v>137.41477911245411</c:v>
                </c:pt>
                <c:pt idx="519">
                  <c:v>136.50825362735063</c:v>
                </c:pt>
                <c:pt idx="520">
                  <c:v>135.1172489573708</c:v>
                </c:pt>
                <c:pt idx="521">
                  <c:v>134.82756037259946</c:v>
                </c:pt>
                <c:pt idx="522">
                  <c:v>136.44082611192968</c:v>
                </c:pt>
                <c:pt idx="523">
                  <c:v>135.48185700372102</c:v>
                </c:pt>
                <c:pt idx="524">
                  <c:v>136.61563818894686</c:v>
                </c:pt>
                <c:pt idx="525">
                  <c:v>137.91424218964613</c:v>
                </c:pt>
                <c:pt idx="526">
                  <c:v>138.19893614364557</c:v>
                </c:pt>
                <c:pt idx="527">
                  <c:v>139.61990859825687</c:v>
                </c:pt>
                <c:pt idx="528">
                  <c:v>139.66236295981821</c:v>
                </c:pt>
                <c:pt idx="529">
                  <c:v>142.26206827660263</c:v>
                </c:pt>
                <c:pt idx="530">
                  <c:v>142.4169018305322</c:v>
                </c:pt>
                <c:pt idx="531">
                  <c:v>142.56174612291787</c:v>
                </c:pt>
                <c:pt idx="532">
                  <c:v>140.48397972179907</c:v>
                </c:pt>
                <c:pt idx="533">
                  <c:v>140.98344279899109</c:v>
                </c:pt>
                <c:pt idx="534">
                  <c:v>141.18822266063981</c:v>
                </c:pt>
                <c:pt idx="535">
                  <c:v>141.52036560697252</c:v>
                </c:pt>
                <c:pt idx="536">
                  <c:v>141.33056963763951</c:v>
                </c:pt>
                <c:pt idx="537">
                  <c:v>141.13328172214869</c:v>
                </c:pt>
                <c:pt idx="538">
                  <c:v>142.68161726144396</c:v>
                </c:pt>
                <c:pt idx="539">
                  <c:v>142.89888370002251</c:v>
                </c:pt>
                <c:pt idx="540">
                  <c:v>143.75046824663485</c:v>
                </c:pt>
                <c:pt idx="541">
                  <c:v>144.08261119296759</c:v>
                </c:pt>
                <c:pt idx="542">
                  <c:v>144.2374447468971</c:v>
                </c:pt>
                <c:pt idx="543">
                  <c:v>144.5121494393527</c:v>
                </c:pt>
                <c:pt idx="544">
                  <c:v>144.15753065454635</c:v>
                </c:pt>
                <c:pt idx="545">
                  <c:v>144.04015683140625</c:v>
                </c:pt>
                <c:pt idx="546">
                  <c:v>144.43972729315985</c:v>
                </c:pt>
                <c:pt idx="547">
                  <c:v>144.86427090877308</c:v>
                </c:pt>
                <c:pt idx="548">
                  <c:v>141.61526359163901</c:v>
                </c:pt>
                <c:pt idx="549">
                  <c:v>140.61883475264091</c:v>
                </c:pt>
                <c:pt idx="550">
                  <c:v>141.08333541442951</c:v>
                </c:pt>
                <c:pt idx="551">
                  <c:v>140.28419449092226</c:v>
                </c:pt>
                <c:pt idx="552">
                  <c:v>140.06692805234374</c:v>
                </c:pt>
                <c:pt idx="553">
                  <c:v>138.67592338236398</c:v>
                </c:pt>
                <c:pt idx="554">
                  <c:v>137.71945158954125</c:v>
                </c:pt>
                <c:pt idx="555">
                  <c:v>137.40229253552434</c:v>
                </c:pt>
                <c:pt idx="556">
                  <c:v>137.91424218964613</c:v>
                </c:pt>
                <c:pt idx="557">
                  <c:v>140.13935019853659</c:v>
                </c:pt>
                <c:pt idx="558">
                  <c:v>141.4604300377095</c:v>
                </c:pt>
                <c:pt idx="559">
                  <c:v>141.94990385335763</c:v>
                </c:pt>
                <c:pt idx="560">
                  <c:v>143.91029643133629</c:v>
                </c:pt>
                <c:pt idx="561">
                  <c:v>143.82039307744174</c:v>
                </c:pt>
                <c:pt idx="562">
                  <c:v>144.72691856254528</c:v>
                </c:pt>
                <c:pt idx="563">
                  <c:v>145.75581250156083</c:v>
                </c:pt>
                <c:pt idx="564">
                  <c:v>146.54246684813825</c:v>
                </c:pt>
                <c:pt idx="565">
                  <c:v>146.86212321754115</c:v>
                </c:pt>
                <c:pt idx="566">
                  <c:v>147.16929301001426</c:v>
                </c:pt>
                <c:pt idx="567">
                  <c:v>146.75473865594489</c:v>
                </c:pt>
                <c:pt idx="568">
                  <c:v>147.59383662562746</c:v>
                </c:pt>
                <c:pt idx="569">
                  <c:v>148.41295607222239</c:v>
                </c:pt>
                <c:pt idx="570">
                  <c:v>149.42187148815026</c:v>
                </c:pt>
                <c:pt idx="571">
                  <c:v>148.36051244911721</c:v>
                </c:pt>
                <c:pt idx="572">
                  <c:v>148.75259096471294</c:v>
                </c:pt>
                <c:pt idx="573">
                  <c:v>150.58062582723574</c:v>
                </c:pt>
                <c:pt idx="574">
                  <c:v>146.84963664061135</c:v>
                </c:pt>
                <c:pt idx="575">
                  <c:v>149.21958894188748</c:v>
                </c:pt>
                <c:pt idx="576">
                  <c:v>149.07224733411581</c:v>
                </c:pt>
                <c:pt idx="577">
                  <c:v>150.80038958120022</c:v>
                </c:pt>
                <c:pt idx="578">
                  <c:v>149.08223659565968</c:v>
                </c:pt>
                <c:pt idx="579">
                  <c:v>148.11577554129315</c:v>
                </c:pt>
                <c:pt idx="580">
                  <c:v>148.33803661064357</c:v>
                </c:pt>
                <c:pt idx="581">
                  <c:v>147.27418025622455</c:v>
                </c:pt>
                <c:pt idx="582">
                  <c:v>146.4700447019454</c:v>
                </c:pt>
                <c:pt idx="583">
                  <c:v>145.29630647054418</c:v>
                </c:pt>
                <c:pt idx="584">
                  <c:v>147.25170441775091</c:v>
                </c:pt>
                <c:pt idx="585">
                  <c:v>148.10828359513525</c:v>
                </c:pt>
                <c:pt idx="586">
                  <c:v>147.46897085632943</c:v>
                </c:pt>
                <c:pt idx="587">
                  <c:v>145.76580176310466</c:v>
                </c:pt>
                <c:pt idx="588">
                  <c:v>145.70586619384162</c:v>
                </c:pt>
                <c:pt idx="589">
                  <c:v>144.3997702469845</c:v>
                </c:pt>
                <c:pt idx="590">
                  <c:v>146.12791249406888</c:v>
                </c:pt>
                <c:pt idx="591">
                  <c:v>147.29166146392626</c:v>
                </c:pt>
                <c:pt idx="592">
                  <c:v>146.72477087131332</c:v>
                </c:pt>
                <c:pt idx="593">
                  <c:v>147.63129635641684</c:v>
                </c:pt>
                <c:pt idx="594">
                  <c:v>148.27310641060859</c:v>
                </c:pt>
                <c:pt idx="595">
                  <c:v>149.85140973453537</c:v>
                </c:pt>
                <c:pt idx="596">
                  <c:v>149.79147416527232</c:v>
                </c:pt>
                <c:pt idx="597">
                  <c:v>148.9923332417651</c:v>
                </c:pt>
                <c:pt idx="598">
                  <c:v>149.31448692655397</c:v>
                </c:pt>
                <c:pt idx="599">
                  <c:v>148.65769298004645</c:v>
                </c:pt>
                <c:pt idx="600">
                  <c:v>147.86104937192522</c:v>
                </c:pt>
                <c:pt idx="601">
                  <c:v>149.03478760332644</c:v>
                </c:pt>
                <c:pt idx="602">
                  <c:v>148.71013660315162</c:v>
                </c:pt>
                <c:pt idx="603">
                  <c:v>147.02444871762856</c:v>
                </c:pt>
                <c:pt idx="604">
                  <c:v>145.56851384761381</c:v>
                </c:pt>
                <c:pt idx="605">
                  <c:v>144.16002796993232</c:v>
                </c:pt>
                <c:pt idx="606">
                  <c:v>146.07297155557774</c:v>
                </c:pt>
                <c:pt idx="607">
                  <c:v>147.23921784082114</c:v>
                </c:pt>
                <c:pt idx="608">
                  <c:v>148.97734934944933</c:v>
                </c:pt>
                <c:pt idx="609">
                  <c:v>149.37192518043102</c:v>
                </c:pt>
                <c:pt idx="610">
                  <c:v>149.83143121144769</c:v>
                </c:pt>
                <c:pt idx="611">
                  <c:v>148.91241914941438</c:v>
                </c:pt>
                <c:pt idx="612">
                  <c:v>149.28951377269436</c:v>
                </c:pt>
                <c:pt idx="613">
                  <c:v>151.65197412781262</c:v>
                </c:pt>
                <c:pt idx="614">
                  <c:v>151.43720500462004</c:v>
                </c:pt>
                <c:pt idx="615">
                  <c:v>151.38476138151489</c:v>
                </c:pt>
                <c:pt idx="616">
                  <c:v>151.91918687411035</c:v>
                </c:pt>
                <c:pt idx="617">
                  <c:v>151.85175935868941</c:v>
                </c:pt>
                <c:pt idx="618">
                  <c:v>152.33124391279375</c:v>
                </c:pt>
                <c:pt idx="619">
                  <c:v>152.80573383612619</c:v>
                </c:pt>
                <c:pt idx="620">
                  <c:v>153.32018080563395</c:v>
                </c:pt>
                <c:pt idx="621">
                  <c:v>151.74437479709312</c:v>
                </c:pt>
                <c:pt idx="622">
                  <c:v>152.58347276677571</c:v>
                </c:pt>
                <c:pt idx="623">
                  <c:v>152.23384861274133</c:v>
                </c:pt>
                <c:pt idx="624">
                  <c:v>151.66945533551436</c:v>
                </c:pt>
                <c:pt idx="625">
                  <c:v>149.98876208076322</c:v>
                </c:pt>
                <c:pt idx="626">
                  <c:v>149.86639362685113</c:v>
                </c:pt>
                <c:pt idx="627">
                  <c:v>150.32090502709588</c:v>
                </c:pt>
                <c:pt idx="628">
                  <c:v>149.98876208076322</c:v>
                </c:pt>
                <c:pt idx="629">
                  <c:v>150.40831106560447</c:v>
                </c:pt>
                <c:pt idx="630">
                  <c:v>150.53317683490246</c:v>
                </c:pt>
                <c:pt idx="631">
                  <c:v>151.2823714506905</c:v>
                </c:pt>
                <c:pt idx="632">
                  <c:v>152.17890767425018</c:v>
                </c:pt>
                <c:pt idx="633">
                  <c:v>152.10898284344333</c:v>
                </c:pt>
                <c:pt idx="634">
                  <c:v>152.40866068975851</c:v>
                </c:pt>
                <c:pt idx="635">
                  <c:v>152.71083585145968</c:v>
                </c:pt>
                <c:pt idx="636">
                  <c:v>153.18782309017806</c:v>
                </c:pt>
                <c:pt idx="637">
                  <c:v>153.35014859026546</c:v>
                </c:pt>
                <c:pt idx="638">
                  <c:v>152.80323652074023</c:v>
                </c:pt>
                <c:pt idx="639">
                  <c:v>153.01800564393278</c:v>
                </c:pt>
                <c:pt idx="640">
                  <c:v>154.04939689833427</c:v>
                </c:pt>
                <c:pt idx="641">
                  <c:v>156.31695926878606</c:v>
                </c:pt>
                <c:pt idx="642">
                  <c:v>156.34193242264567</c:v>
                </c:pt>
                <c:pt idx="643">
                  <c:v>155.84496666083959</c:v>
                </c:pt>
                <c:pt idx="644">
                  <c:v>154.15178682915865</c:v>
                </c:pt>
                <c:pt idx="645">
                  <c:v>154.25417675998301</c:v>
                </c:pt>
                <c:pt idx="646">
                  <c:v>153.15286067477462</c:v>
                </c:pt>
                <c:pt idx="647">
                  <c:v>152.67087880528433</c:v>
                </c:pt>
                <c:pt idx="648">
                  <c:v>152.5485103513723</c:v>
                </c:pt>
                <c:pt idx="649">
                  <c:v>153.02549759009065</c:v>
                </c:pt>
                <c:pt idx="650">
                  <c:v>154.31161501386009</c:v>
                </c:pt>
                <c:pt idx="651">
                  <c:v>152.80323652074023</c:v>
                </c:pt>
                <c:pt idx="652">
                  <c:v>152.93059960542419</c:v>
                </c:pt>
                <c:pt idx="653">
                  <c:v>152.90562645156456</c:v>
                </c:pt>
                <c:pt idx="654">
                  <c:v>151.79681842019829</c:v>
                </c:pt>
                <c:pt idx="655">
                  <c:v>152.21387008965362</c:v>
                </c:pt>
                <c:pt idx="656">
                  <c:v>152.80073920535423</c:v>
                </c:pt>
                <c:pt idx="657">
                  <c:v>153.62235596733512</c:v>
                </c:pt>
                <c:pt idx="658">
                  <c:v>153.99195864445721</c:v>
                </c:pt>
                <c:pt idx="659">
                  <c:v>154.75114252178906</c:v>
                </c:pt>
                <c:pt idx="660">
                  <c:v>155.17318882201636</c:v>
                </c:pt>
                <c:pt idx="661">
                  <c:v>154.86601902954322</c:v>
                </c:pt>
                <c:pt idx="662">
                  <c:v>154.10184052143947</c:v>
                </c:pt>
                <c:pt idx="663">
                  <c:v>152.05154458956622</c:v>
                </c:pt>
                <c:pt idx="664">
                  <c:v>152.14394525884677</c:v>
                </c:pt>
                <c:pt idx="665">
                  <c:v>150.21102315011362</c:v>
                </c:pt>
                <c:pt idx="666">
                  <c:v>150.7079889119197</c:v>
                </c:pt>
                <c:pt idx="667">
                  <c:v>151.96164123567166</c:v>
                </c:pt>
                <c:pt idx="668">
                  <c:v>150.86781709662114</c:v>
                </c:pt>
                <c:pt idx="669">
                  <c:v>152.56349424368801</c:v>
                </c:pt>
                <c:pt idx="670">
                  <c:v>151.4272157430762</c:v>
                </c:pt>
                <c:pt idx="671">
                  <c:v>151.40473990460254</c:v>
                </c:pt>
                <c:pt idx="672">
                  <c:v>151.0151587043928</c:v>
                </c:pt>
                <c:pt idx="673">
                  <c:v>152.41115800514447</c:v>
                </c:pt>
                <c:pt idx="674">
                  <c:v>152.37120095896913</c:v>
                </c:pt>
                <c:pt idx="675">
                  <c:v>152.5285318282846</c:v>
                </c:pt>
                <c:pt idx="676">
                  <c:v>151.51711909697076</c:v>
                </c:pt>
                <c:pt idx="677">
                  <c:v>151.42471842769024</c:v>
                </c:pt>
                <c:pt idx="678">
                  <c:v>151.56207077391804</c:v>
                </c:pt>
                <c:pt idx="679">
                  <c:v>150.23100167320132</c:v>
                </c:pt>
                <c:pt idx="680">
                  <c:v>148.20318157980174</c:v>
                </c:pt>
                <c:pt idx="681">
                  <c:v>146.98449167145321</c:v>
                </c:pt>
                <c:pt idx="682">
                  <c:v>146.81217690982194</c:v>
                </c:pt>
                <c:pt idx="683">
                  <c:v>146.0754688709637</c:v>
                </c:pt>
                <c:pt idx="684">
                  <c:v>145.03908298579029</c:v>
                </c:pt>
                <c:pt idx="685">
                  <c:v>143.6605648927403</c:v>
                </c:pt>
                <c:pt idx="686">
                  <c:v>143.37587093874086</c:v>
                </c:pt>
                <c:pt idx="687">
                  <c:v>144.84179507029941</c:v>
                </c:pt>
                <c:pt idx="688">
                  <c:v>144.61953400094899</c:v>
                </c:pt>
                <c:pt idx="689">
                  <c:v>144.82431386259771</c:v>
                </c:pt>
                <c:pt idx="690">
                  <c:v>145.17393801663215</c:v>
                </c:pt>
                <c:pt idx="691">
                  <c:v>145.0890292935095</c:v>
                </c:pt>
                <c:pt idx="692">
                  <c:v>146.2153185325775</c:v>
                </c:pt>
                <c:pt idx="693">
                  <c:v>145.9580950478236</c:v>
                </c:pt>
                <c:pt idx="694">
                  <c:v>146.01803061708665</c:v>
                </c:pt>
                <c:pt idx="695">
                  <c:v>146.76223060210273</c:v>
                </c:pt>
                <c:pt idx="696">
                  <c:v>146.03301450940239</c:v>
                </c:pt>
                <c:pt idx="697">
                  <c:v>146.87710710985692</c:v>
                </c:pt>
                <c:pt idx="698">
                  <c:v>148.07831581050374</c:v>
                </c:pt>
                <c:pt idx="699">
                  <c:v>148.26311714906478</c:v>
                </c:pt>
                <c:pt idx="700">
                  <c:v>147.13433059461079</c:v>
                </c:pt>
                <c:pt idx="701">
                  <c:v>147.19176884848787</c:v>
                </c:pt>
                <c:pt idx="702">
                  <c:v>147.17179032540022</c:v>
                </c:pt>
                <c:pt idx="703">
                  <c:v>146.9220587868042</c:v>
                </c:pt>
                <c:pt idx="704">
                  <c:v>147.52391179482055</c:v>
                </c:pt>
                <c:pt idx="705">
                  <c:v>147.35908897934721</c:v>
                </c:pt>
                <c:pt idx="706">
                  <c:v>146.56244537122595</c:v>
                </c:pt>
                <c:pt idx="707">
                  <c:v>144.75438903179082</c:v>
                </c:pt>
                <c:pt idx="708">
                  <c:v>143.85535549284521</c:v>
                </c:pt>
                <c:pt idx="709">
                  <c:v>143.71800314661738</c:v>
                </c:pt>
                <c:pt idx="710">
                  <c:v>144.06512998526583</c:v>
                </c:pt>
                <c:pt idx="711">
                  <c:v>144.32984541617765</c:v>
                </c:pt>
                <c:pt idx="712">
                  <c:v>143.5307044926704</c:v>
                </c:pt>
                <c:pt idx="713">
                  <c:v>143.05871188472395</c:v>
                </c:pt>
                <c:pt idx="714">
                  <c:v>144.34233199310742</c:v>
                </c:pt>
                <c:pt idx="715">
                  <c:v>145.48610243987713</c:v>
                </c:pt>
                <c:pt idx="716">
                  <c:v>145.121494393527</c:v>
                </c:pt>
                <c:pt idx="717">
                  <c:v>144.18000649302002</c:v>
                </c:pt>
                <c:pt idx="718">
                  <c:v>142.52678370751443</c:v>
                </c:pt>
                <c:pt idx="719">
                  <c:v>142.19963539195365</c:v>
                </c:pt>
                <c:pt idx="720">
                  <c:v>140.77866293734235</c:v>
                </c:pt>
                <c:pt idx="721">
                  <c:v>140.39907099867645</c:v>
                </c:pt>
                <c:pt idx="722">
                  <c:v>139.40513947506432</c:v>
                </c:pt>
                <c:pt idx="723">
                  <c:v>139.66985490597608</c:v>
                </c:pt>
                <c:pt idx="724">
                  <c:v>138.09155158204931</c:v>
                </c:pt>
                <c:pt idx="725">
                  <c:v>135.05481607272179</c:v>
                </c:pt>
                <c:pt idx="726">
                  <c:v>135.47935968833505</c:v>
                </c:pt>
                <c:pt idx="727">
                  <c:v>136.26351671952654</c:v>
                </c:pt>
                <c:pt idx="728">
                  <c:v>135.04232949579202</c:v>
                </c:pt>
                <c:pt idx="729">
                  <c:v>134.3980221262143</c:v>
                </c:pt>
                <c:pt idx="730">
                  <c:v>133.91853757210998</c:v>
                </c:pt>
                <c:pt idx="731">
                  <c:v>131.22643158604504</c:v>
                </c:pt>
                <c:pt idx="732">
                  <c:v>131.476163124641</c:v>
                </c:pt>
                <c:pt idx="733">
                  <c:v>131.28137252453615</c:v>
                </c:pt>
                <c:pt idx="734">
                  <c:v>129.06125914641763</c:v>
                </c:pt>
                <c:pt idx="735">
                  <c:v>129.05626451564567</c:v>
                </c:pt>
                <c:pt idx="736">
                  <c:v>132.7098369253053</c:v>
                </c:pt>
                <c:pt idx="737">
                  <c:v>132.63242014834054</c:v>
                </c:pt>
                <c:pt idx="738">
                  <c:v>134.89249057263442</c:v>
                </c:pt>
                <c:pt idx="739">
                  <c:v>135.43440801138777</c:v>
                </c:pt>
                <c:pt idx="740">
                  <c:v>135.49434358065079</c:v>
                </c:pt>
                <c:pt idx="741">
                  <c:v>135.77654021926432</c:v>
                </c:pt>
                <c:pt idx="742">
                  <c:v>135.05731338810781</c:v>
                </c:pt>
                <c:pt idx="743">
                  <c:v>137.51966635866441</c:v>
                </c:pt>
                <c:pt idx="744">
                  <c:v>137.85180930499715</c:v>
                </c:pt>
                <c:pt idx="745">
                  <c:v>137.12259321229678</c:v>
                </c:pt>
                <c:pt idx="746">
                  <c:v>138.4786354668731</c:v>
                </c:pt>
                <c:pt idx="747">
                  <c:v>136.9527757660515</c:v>
                </c:pt>
                <c:pt idx="748">
                  <c:v>136.0862073271233</c:v>
                </c:pt>
                <c:pt idx="749">
                  <c:v>137.6670079664361</c:v>
                </c:pt>
                <c:pt idx="750">
                  <c:v>137.83682541268138</c:v>
                </c:pt>
                <c:pt idx="751">
                  <c:v>136.95027845066554</c:v>
                </c:pt>
                <c:pt idx="752">
                  <c:v>138.60350123617113</c:v>
                </c:pt>
                <c:pt idx="753">
                  <c:v>139.48255625202904</c:v>
                </c:pt>
                <c:pt idx="754">
                  <c:v>138.16397372824215</c:v>
                </c:pt>
                <c:pt idx="755">
                  <c:v>138.03661064355819</c:v>
                </c:pt>
                <c:pt idx="756">
                  <c:v>138.05658916664589</c:v>
                </c:pt>
                <c:pt idx="757">
                  <c:v>138.50360862073273</c:v>
                </c:pt>
              </c:numCache>
            </c:numRef>
          </c:val>
          <c:smooth val="0"/>
        </c:ser>
        <c:ser>
          <c:idx val="1"/>
          <c:order val="1"/>
          <c:tx>
            <c:strRef>
              <c:f>Sheet1!$C$1</c:f>
              <c:strCache>
                <c:ptCount val="1"/>
                <c:pt idx="0">
                  <c:v>STOXX Europe 600</c:v>
                </c:pt>
              </c:strCache>
            </c:strRef>
          </c:tx>
          <c:spPr>
            <a:ln w="28575">
              <a:solidFill>
                <a:schemeClr val="accent4"/>
              </a:solidFill>
              <a:prstDash val="solid"/>
            </a:ln>
          </c:spPr>
          <c:marker>
            <c:symbol val="none"/>
          </c:marker>
          <c:cat>
            <c:numRef>
              <c:f>Sheet1!$A$2:$A$759</c:f>
              <c:numCache>
                <c:formatCode>m/d/yyyy</c:formatCode>
                <c:ptCount val="758"/>
                <c:pt idx="0">
                  <c:v>40882</c:v>
                </c:pt>
                <c:pt idx="1">
                  <c:v>40883</c:v>
                </c:pt>
                <c:pt idx="2">
                  <c:v>40884</c:v>
                </c:pt>
                <c:pt idx="3">
                  <c:v>40885</c:v>
                </c:pt>
                <c:pt idx="4">
                  <c:v>40886</c:v>
                </c:pt>
                <c:pt idx="5">
                  <c:v>40889</c:v>
                </c:pt>
                <c:pt idx="6">
                  <c:v>40890</c:v>
                </c:pt>
                <c:pt idx="7">
                  <c:v>40891</c:v>
                </c:pt>
                <c:pt idx="8">
                  <c:v>40892</c:v>
                </c:pt>
                <c:pt idx="9">
                  <c:v>40893</c:v>
                </c:pt>
                <c:pt idx="10">
                  <c:v>40896</c:v>
                </c:pt>
                <c:pt idx="11">
                  <c:v>40897</c:v>
                </c:pt>
                <c:pt idx="12">
                  <c:v>40898</c:v>
                </c:pt>
                <c:pt idx="13">
                  <c:v>40899</c:v>
                </c:pt>
                <c:pt idx="14">
                  <c:v>40900</c:v>
                </c:pt>
                <c:pt idx="15">
                  <c:v>40904</c:v>
                </c:pt>
                <c:pt idx="16">
                  <c:v>40905</c:v>
                </c:pt>
                <c:pt idx="17">
                  <c:v>40906</c:v>
                </c:pt>
                <c:pt idx="18">
                  <c:v>40907</c:v>
                </c:pt>
                <c:pt idx="19">
                  <c:v>40910</c:v>
                </c:pt>
                <c:pt idx="20">
                  <c:v>40911</c:v>
                </c:pt>
                <c:pt idx="21">
                  <c:v>40912</c:v>
                </c:pt>
                <c:pt idx="22">
                  <c:v>40913</c:v>
                </c:pt>
                <c:pt idx="23">
                  <c:v>40914</c:v>
                </c:pt>
                <c:pt idx="24">
                  <c:v>40917</c:v>
                </c:pt>
                <c:pt idx="25">
                  <c:v>40918</c:v>
                </c:pt>
                <c:pt idx="26">
                  <c:v>40919</c:v>
                </c:pt>
                <c:pt idx="27">
                  <c:v>40920</c:v>
                </c:pt>
                <c:pt idx="28">
                  <c:v>40921</c:v>
                </c:pt>
                <c:pt idx="29">
                  <c:v>40924</c:v>
                </c:pt>
                <c:pt idx="30">
                  <c:v>40925</c:v>
                </c:pt>
                <c:pt idx="31">
                  <c:v>40926</c:v>
                </c:pt>
                <c:pt idx="32">
                  <c:v>40927</c:v>
                </c:pt>
                <c:pt idx="33">
                  <c:v>40928</c:v>
                </c:pt>
                <c:pt idx="34">
                  <c:v>40931</c:v>
                </c:pt>
                <c:pt idx="35">
                  <c:v>40932</c:v>
                </c:pt>
                <c:pt idx="36">
                  <c:v>40933</c:v>
                </c:pt>
                <c:pt idx="37">
                  <c:v>40934</c:v>
                </c:pt>
                <c:pt idx="38">
                  <c:v>40935</c:v>
                </c:pt>
                <c:pt idx="39">
                  <c:v>40938</c:v>
                </c:pt>
                <c:pt idx="40">
                  <c:v>40939</c:v>
                </c:pt>
                <c:pt idx="41">
                  <c:v>40940</c:v>
                </c:pt>
                <c:pt idx="42">
                  <c:v>40941</c:v>
                </c:pt>
                <c:pt idx="43">
                  <c:v>40942</c:v>
                </c:pt>
                <c:pt idx="44">
                  <c:v>40945</c:v>
                </c:pt>
                <c:pt idx="45">
                  <c:v>40946</c:v>
                </c:pt>
                <c:pt idx="46">
                  <c:v>40947</c:v>
                </c:pt>
                <c:pt idx="47">
                  <c:v>40948</c:v>
                </c:pt>
                <c:pt idx="48">
                  <c:v>40949</c:v>
                </c:pt>
                <c:pt idx="49">
                  <c:v>40952</c:v>
                </c:pt>
                <c:pt idx="50">
                  <c:v>40953</c:v>
                </c:pt>
                <c:pt idx="51">
                  <c:v>40954</c:v>
                </c:pt>
                <c:pt idx="52">
                  <c:v>40955</c:v>
                </c:pt>
                <c:pt idx="53">
                  <c:v>40956</c:v>
                </c:pt>
                <c:pt idx="54">
                  <c:v>40959</c:v>
                </c:pt>
                <c:pt idx="55">
                  <c:v>40960</c:v>
                </c:pt>
                <c:pt idx="56">
                  <c:v>40961</c:v>
                </c:pt>
                <c:pt idx="57">
                  <c:v>40962</c:v>
                </c:pt>
                <c:pt idx="58">
                  <c:v>40963</c:v>
                </c:pt>
                <c:pt idx="59">
                  <c:v>40966</c:v>
                </c:pt>
                <c:pt idx="60">
                  <c:v>40967</c:v>
                </c:pt>
                <c:pt idx="61">
                  <c:v>40968</c:v>
                </c:pt>
                <c:pt idx="62">
                  <c:v>40969</c:v>
                </c:pt>
                <c:pt idx="63">
                  <c:v>40970</c:v>
                </c:pt>
                <c:pt idx="64">
                  <c:v>40973</c:v>
                </c:pt>
                <c:pt idx="65">
                  <c:v>40974</c:v>
                </c:pt>
                <c:pt idx="66">
                  <c:v>40975</c:v>
                </c:pt>
                <c:pt idx="67">
                  <c:v>40976</c:v>
                </c:pt>
                <c:pt idx="68">
                  <c:v>40977</c:v>
                </c:pt>
                <c:pt idx="69">
                  <c:v>40980</c:v>
                </c:pt>
                <c:pt idx="70">
                  <c:v>40981</c:v>
                </c:pt>
                <c:pt idx="71">
                  <c:v>40982</c:v>
                </c:pt>
                <c:pt idx="72">
                  <c:v>40983</c:v>
                </c:pt>
                <c:pt idx="73">
                  <c:v>40984</c:v>
                </c:pt>
                <c:pt idx="74">
                  <c:v>40987</c:v>
                </c:pt>
                <c:pt idx="75">
                  <c:v>40988</c:v>
                </c:pt>
                <c:pt idx="76">
                  <c:v>40989</c:v>
                </c:pt>
                <c:pt idx="77">
                  <c:v>40990</c:v>
                </c:pt>
                <c:pt idx="78">
                  <c:v>40991</c:v>
                </c:pt>
                <c:pt idx="79">
                  <c:v>40994</c:v>
                </c:pt>
                <c:pt idx="80">
                  <c:v>40995</c:v>
                </c:pt>
                <c:pt idx="81">
                  <c:v>40996</c:v>
                </c:pt>
                <c:pt idx="82">
                  <c:v>40997</c:v>
                </c:pt>
                <c:pt idx="83">
                  <c:v>40998</c:v>
                </c:pt>
                <c:pt idx="84">
                  <c:v>41001</c:v>
                </c:pt>
                <c:pt idx="85">
                  <c:v>41002</c:v>
                </c:pt>
                <c:pt idx="86">
                  <c:v>41003</c:v>
                </c:pt>
                <c:pt idx="87">
                  <c:v>41004</c:v>
                </c:pt>
                <c:pt idx="88">
                  <c:v>41009</c:v>
                </c:pt>
                <c:pt idx="89">
                  <c:v>41010</c:v>
                </c:pt>
                <c:pt idx="90">
                  <c:v>41011</c:v>
                </c:pt>
                <c:pt idx="91">
                  <c:v>41012</c:v>
                </c:pt>
                <c:pt idx="92">
                  <c:v>41015</c:v>
                </c:pt>
                <c:pt idx="93">
                  <c:v>41016</c:v>
                </c:pt>
                <c:pt idx="94">
                  <c:v>41017</c:v>
                </c:pt>
                <c:pt idx="95">
                  <c:v>41018</c:v>
                </c:pt>
                <c:pt idx="96">
                  <c:v>41019</c:v>
                </c:pt>
                <c:pt idx="97">
                  <c:v>41022</c:v>
                </c:pt>
                <c:pt idx="98">
                  <c:v>41023</c:v>
                </c:pt>
                <c:pt idx="99">
                  <c:v>41024</c:v>
                </c:pt>
                <c:pt idx="100">
                  <c:v>41025</c:v>
                </c:pt>
                <c:pt idx="101">
                  <c:v>41026</c:v>
                </c:pt>
                <c:pt idx="102">
                  <c:v>41029</c:v>
                </c:pt>
                <c:pt idx="103">
                  <c:v>41030</c:v>
                </c:pt>
                <c:pt idx="104">
                  <c:v>41031</c:v>
                </c:pt>
                <c:pt idx="105">
                  <c:v>41032</c:v>
                </c:pt>
                <c:pt idx="106">
                  <c:v>41033</c:v>
                </c:pt>
                <c:pt idx="107">
                  <c:v>41036</c:v>
                </c:pt>
                <c:pt idx="108">
                  <c:v>41037</c:v>
                </c:pt>
                <c:pt idx="109">
                  <c:v>41038</c:v>
                </c:pt>
                <c:pt idx="110">
                  <c:v>41039</c:v>
                </c:pt>
                <c:pt idx="111">
                  <c:v>41040</c:v>
                </c:pt>
                <c:pt idx="112">
                  <c:v>41043</c:v>
                </c:pt>
                <c:pt idx="113">
                  <c:v>41044</c:v>
                </c:pt>
                <c:pt idx="114">
                  <c:v>41045</c:v>
                </c:pt>
                <c:pt idx="115">
                  <c:v>41046</c:v>
                </c:pt>
                <c:pt idx="116">
                  <c:v>41047</c:v>
                </c:pt>
                <c:pt idx="117">
                  <c:v>41050</c:v>
                </c:pt>
                <c:pt idx="118">
                  <c:v>41051</c:v>
                </c:pt>
                <c:pt idx="119">
                  <c:v>41052</c:v>
                </c:pt>
                <c:pt idx="120">
                  <c:v>41053</c:v>
                </c:pt>
                <c:pt idx="121">
                  <c:v>41054</c:v>
                </c:pt>
                <c:pt idx="122">
                  <c:v>41057</c:v>
                </c:pt>
                <c:pt idx="123">
                  <c:v>41058</c:v>
                </c:pt>
                <c:pt idx="124">
                  <c:v>41059</c:v>
                </c:pt>
                <c:pt idx="125">
                  <c:v>41060</c:v>
                </c:pt>
                <c:pt idx="126">
                  <c:v>41061</c:v>
                </c:pt>
                <c:pt idx="127">
                  <c:v>41064</c:v>
                </c:pt>
                <c:pt idx="128">
                  <c:v>41065</c:v>
                </c:pt>
                <c:pt idx="129">
                  <c:v>41066</c:v>
                </c:pt>
                <c:pt idx="130">
                  <c:v>41067</c:v>
                </c:pt>
                <c:pt idx="131">
                  <c:v>41068</c:v>
                </c:pt>
                <c:pt idx="132">
                  <c:v>41071</c:v>
                </c:pt>
                <c:pt idx="133">
                  <c:v>41072</c:v>
                </c:pt>
                <c:pt idx="134">
                  <c:v>41073</c:v>
                </c:pt>
                <c:pt idx="135">
                  <c:v>41074</c:v>
                </c:pt>
                <c:pt idx="136">
                  <c:v>41075</c:v>
                </c:pt>
                <c:pt idx="137">
                  <c:v>41078</c:v>
                </c:pt>
                <c:pt idx="138">
                  <c:v>41079</c:v>
                </c:pt>
                <c:pt idx="139">
                  <c:v>41080</c:v>
                </c:pt>
                <c:pt idx="140">
                  <c:v>41081</c:v>
                </c:pt>
                <c:pt idx="141">
                  <c:v>41082</c:v>
                </c:pt>
                <c:pt idx="142">
                  <c:v>41085</c:v>
                </c:pt>
                <c:pt idx="143">
                  <c:v>41086</c:v>
                </c:pt>
                <c:pt idx="144">
                  <c:v>41087</c:v>
                </c:pt>
                <c:pt idx="145">
                  <c:v>41088</c:v>
                </c:pt>
                <c:pt idx="146">
                  <c:v>41089</c:v>
                </c:pt>
                <c:pt idx="147">
                  <c:v>41092</c:v>
                </c:pt>
                <c:pt idx="148">
                  <c:v>41093</c:v>
                </c:pt>
                <c:pt idx="149">
                  <c:v>41094</c:v>
                </c:pt>
                <c:pt idx="150">
                  <c:v>41095</c:v>
                </c:pt>
                <c:pt idx="151">
                  <c:v>41096</c:v>
                </c:pt>
                <c:pt idx="152">
                  <c:v>41099</c:v>
                </c:pt>
                <c:pt idx="153">
                  <c:v>41100</c:v>
                </c:pt>
                <c:pt idx="154">
                  <c:v>41101</c:v>
                </c:pt>
                <c:pt idx="155">
                  <c:v>41102</c:v>
                </c:pt>
                <c:pt idx="156">
                  <c:v>41103</c:v>
                </c:pt>
                <c:pt idx="157">
                  <c:v>41106</c:v>
                </c:pt>
                <c:pt idx="158">
                  <c:v>41107</c:v>
                </c:pt>
                <c:pt idx="159">
                  <c:v>41108</c:v>
                </c:pt>
                <c:pt idx="160">
                  <c:v>41109</c:v>
                </c:pt>
                <c:pt idx="161">
                  <c:v>41110</c:v>
                </c:pt>
                <c:pt idx="162">
                  <c:v>41113</c:v>
                </c:pt>
                <c:pt idx="163">
                  <c:v>41114</c:v>
                </c:pt>
                <c:pt idx="164">
                  <c:v>41115</c:v>
                </c:pt>
                <c:pt idx="165">
                  <c:v>41116</c:v>
                </c:pt>
                <c:pt idx="166">
                  <c:v>41117</c:v>
                </c:pt>
                <c:pt idx="167">
                  <c:v>41120</c:v>
                </c:pt>
                <c:pt idx="168">
                  <c:v>41121</c:v>
                </c:pt>
                <c:pt idx="169">
                  <c:v>41122</c:v>
                </c:pt>
                <c:pt idx="170">
                  <c:v>41123</c:v>
                </c:pt>
                <c:pt idx="171">
                  <c:v>41124</c:v>
                </c:pt>
                <c:pt idx="172">
                  <c:v>41127</c:v>
                </c:pt>
                <c:pt idx="173">
                  <c:v>41128</c:v>
                </c:pt>
                <c:pt idx="174">
                  <c:v>41129</c:v>
                </c:pt>
                <c:pt idx="175">
                  <c:v>41130</c:v>
                </c:pt>
                <c:pt idx="176">
                  <c:v>41131</c:v>
                </c:pt>
                <c:pt idx="177">
                  <c:v>41134</c:v>
                </c:pt>
                <c:pt idx="178">
                  <c:v>41135</c:v>
                </c:pt>
                <c:pt idx="179">
                  <c:v>41136</c:v>
                </c:pt>
                <c:pt idx="180">
                  <c:v>41137</c:v>
                </c:pt>
                <c:pt idx="181">
                  <c:v>41138</c:v>
                </c:pt>
                <c:pt idx="182">
                  <c:v>41141</c:v>
                </c:pt>
                <c:pt idx="183">
                  <c:v>41142</c:v>
                </c:pt>
                <c:pt idx="184">
                  <c:v>41143</c:v>
                </c:pt>
                <c:pt idx="185">
                  <c:v>41144</c:v>
                </c:pt>
                <c:pt idx="186">
                  <c:v>41145</c:v>
                </c:pt>
                <c:pt idx="187">
                  <c:v>41148</c:v>
                </c:pt>
                <c:pt idx="188">
                  <c:v>41149</c:v>
                </c:pt>
                <c:pt idx="189">
                  <c:v>41150</c:v>
                </c:pt>
                <c:pt idx="190">
                  <c:v>41151</c:v>
                </c:pt>
                <c:pt idx="191">
                  <c:v>41152</c:v>
                </c:pt>
                <c:pt idx="192">
                  <c:v>41155</c:v>
                </c:pt>
                <c:pt idx="193">
                  <c:v>41156</c:v>
                </c:pt>
                <c:pt idx="194">
                  <c:v>41157</c:v>
                </c:pt>
                <c:pt idx="195">
                  <c:v>41158</c:v>
                </c:pt>
                <c:pt idx="196">
                  <c:v>41159</c:v>
                </c:pt>
                <c:pt idx="197">
                  <c:v>41162</c:v>
                </c:pt>
                <c:pt idx="198">
                  <c:v>41163</c:v>
                </c:pt>
                <c:pt idx="199">
                  <c:v>41164</c:v>
                </c:pt>
                <c:pt idx="200">
                  <c:v>41165</c:v>
                </c:pt>
                <c:pt idx="201">
                  <c:v>41166</c:v>
                </c:pt>
                <c:pt idx="202">
                  <c:v>41169</c:v>
                </c:pt>
                <c:pt idx="203">
                  <c:v>41170</c:v>
                </c:pt>
                <c:pt idx="204">
                  <c:v>41171</c:v>
                </c:pt>
                <c:pt idx="205">
                  <c:v>41172</c:v>
                </c:pt>
                <c:pt idx="206">
                  <c:v>41173</c:v>
                </c:pt>
                <c:pt idx="207">
                  <c:v>41176</c:v>
                </c:pt>
                <c:pt idx="208">
                  <c:v>41177</c:v>
                </c:pt>
                <c:pt idx="209">
                  <c:v>41178</c:v>
                </c:pt>
                <c:pt idx="210">
                  <c:v>41179</c:v>
                </c:pt>
                <c:pt idx="211">
                  <c:v>41180</c:v>
                </c:pt>
                <c:pt idx="212">
                  <c:v>41183</c:v>
                </c:pt>
                <c:pt idx="213">
                  <c:v>41184</c:v>
                </c:pt>
                <c:pt idx="214">
                  <c:v>41185</c:v>
                </c:pt>
                <c:pt idx="215">
                  <c:v>41186</c:v>
                </c:pt>
                <c:pt idx="216">
                  <c:v>41187</c:v>
                </c:pt>
                <c:pt idx="217">
                  <c:v>41190</c:v>
                </c:pt>
                <c:pt idx="218">
                  <c:v>41191</c:v>
                </c:pt>
                <c:pt idx="219">
                  <c:v>41192</c:v>
                </c:pt>
                <c:pt idx="220">
                  <c:v>41193</c:v>
                </c:pt>
                <c:pt idx="221">
                  <c:v>41194</c:v>
                </c:pt>
                <c:pt idx="222">
                  <c:v>41197</c:v>
                </c:pt>
                <c:pt idx="223">
                  <c:v>41198</c:v>
                </c:pt>
                <c:pt idx="224">
                  <c:v>41199</c:v>
                </c:pt>
                <c:pt idx="225">
                  <c:v>41200</c:v>
                </c:pt>
                <c:pt idx="226">
                  <c:v>41201</c:v>
                </c:pt>
                <c:pt idx="227">
                  <c:v>41204</c:v>
                </c:pt>
                <c:pt idx="228">
                  <c:v>41205</c:v>
                </c:pt>
                <c:pt idx="229">
                  <c:v>41206</c:v>
                </c:pt>
                <c:pt idx="230">
                  <c:v>41207</c:v>
                </c:pt>
                <c:pt idx="231">
                  <c:v>41208</c:v>
                </c:pt>
                <c:pt idx="232">
                  <c:v>41211</c:v>
                </c:pt>
                <c:pt idx="233">
                  <c:v>41212</c:v>
                </c:pt>
                <c:pt idx="234">
                  <c:v>41213</c:v>
                </c:pt>
                <c:pt idx="235">
                  <c:v>41214</c:v>
                </c:pt>
                <c:pt idx="236">
                  <c:v>41215</c:v>
                </c:pt>
                <c:pt idx="237">
                  <c:v>41218</c:v>
                </c:pt>
                <c:pt idx="238">
                  <c:v>41219</c:v>
                </c:pt>
                <c:pt idx="239">
                  <c:v>41220</c:v>
                </c:pt>
                <c:pt idx="240">
                  <c:v>41221</c:v>
                </c:pt>
                <c:pt idx="241">
                  <c:v>41222</c:v>
                </c:pt>
                <c:pt idx="242">
                  <c:v>41225</c:v>
                </c:pt>
                <c:pt idx="243">
                  <c:v>41226</c:v>
                </c:pt>
                <c:pt idx="244">
                  <c:v>41227</c:v>
                </c:pt>
                <c:pt idx="245">
                  <c:v>41228</c:v>
                </c:pt>
                <c:pt idx="246">
                  <c:v>41229</c:v>
                </c:pt>
                <c:pt idx="247">
                  <c:v>41232</c:v>
                </c:pt>
                <c:pt idx="248">
                  <c:v>41233</c:v>
                </c:pt>
                <c:pt idx="249">
                  <c:v>41234</c:v>
                </c:pt>
                <c:pt idx="250">
                  <c:v>41235</c:v>
                </c:pt>
                <c:pt idx="251">
                  <c:v>41236</c:v>
                </c:pt>
                <c:pt idx="252">
                  <c:v>41239</c:v>
                </c:pt>
                <c:pt idx="253">
                  <c:v>41240</c:v>
                </c:pt>
                <c:pt idx="254">
                  <c:v>41241</c:v>
                </c:pt>
                <c:pt idx="255">
                  <c:v>41242</c:v>
                </c:pt>
                <c:pt idx="256">
                  <c:v>41243</c:v>
                </c:pt>
                <c:pt idx="257">
                  <c:v>41246</c:v>
                </c:pt>
                <c:pt idx="258">
                  <c:v>41247</c:v>
                </c:pt>
                <c:pt idx="259">
                  <c:v>41248</c:v>
                </c:pt>
                <c:pt idx="260">
                  <c:v>41249</c:v>
                </c:pt>
                <c:pt idx="261">
                  <c:v>41250</c:v>
                </c:pt>
                <c:pt idx="262">
                  <c:v>41253</c:v>
                </c:pt>
                <c:pt idx="263">
                  <c:v>41254</c:v>
                </c:pt>
                <c:pt idx="264">
                  <c:v>41255</c:v>
                </c:pt>
                <c:pt idx="265">
                  <c:v>41256</c:v>
                </c:pt>
                <c:pt idx="266">
                  <c:v>41257</c:v>
                </c:pt>
                <c:pt idx="267">
                  <c:v>41260</c:v>
                </c:pt>
                <c:pt idx="268">
                  <c:v>41261</c:v>
                </c:pt>
                <c:pt idx="269">
                  <c:v>41262</c:v>
                </c:pt>
                <c:pt idx="270">
                  <c:v>41263</c:v>
                </c:pt>
                <c:pt idx="271">
                  <c:v>41264</c:v>
                </c:pt>
                <c:pt idx="272">
                  <c:v>41267</c:v>
                </c:pt>
                <c:pt idx="273">
                  <c:v>41270</c:v>
                </c:pt>
                <c:pt idx="274">
                  <c:v>41271</c:v>
                </c:pt>
                <c:pt idx="275">
                  <c:v>41274</c:v>
                </c:pt>
                <c:pt idx="276">
                  <c:v>41276</c:v>
                </c:pt>
                <c:pt idx="277">
                  <c:v>41277</c:v>
                </c:pt>
                <c:pt idx="278">
                  <c:v>41278</c:v>
                </c:pt>
                <c:pt idx="279">
                  <c:v>41281</c:v>
                </c:pt>
                <c:pt idx="280">
                  <c:v>41282</c:v>
                </c:pt>
                <c:pt idx="281">
                  <c:v>41283</c:v>
                </c:pt>
                <c:pt idx="282">
                  <c:v>41284</c:v>
                </c:pt>
                <c:pt idx="283">
                  <c:v>41285</c:v>
                </c:pt>
                <c:pt idx="284">
                  <c:v>41288</c:v>
                </c:pt>
                <c:pt idx="285">
                  <c:v>41289</c:v>
                </c:pt>
                <c:pt idx="286">
                  <c:v>41290</c:v>
                </c:pt>
                <c:pt idx="287">
                  <c:v>41291</c:v>
                </c:pt>
                <c:pt idx="288">
                  <c:v>41292</c:v>
                </c:pt>
                <c:pt idx="289">
                  <c:v>41295</c:v>
                </c:pt>
                <c:pt idx="290">
                  <c:v>41296</c:v>
                </c:pt>
                <c:pt idx="291">
                  <c:v>41297</c:v>
                </c:pt>
                <c:pt idx="292">
                  <c:v>41298</c:v>
                </c:pt>
                <c:pt idx="293">
                  <c:v>41299</c:v>
                </c:pt>
                <c:pt idx="294">
                  <c:v>41302</c:v>
                </c:pt>
                <c:pt idx="295">
                  <c:v>41303</c:v>
                </c:pt>
                <c:pt idx="296">
                  <c:v>41304</c:v>
                </c:pt>
                <c:pt idx="297">
                  <c:v>41305</c:v>
                </c:pt>
                <c:pt idx="298">
                  <c:v>41306</c:v>
                </c:pt>
                <c:pt idx="299">
                  <c:v>41309</c:v>
                </c:pt>
                <c:pt idx="300">
                  <c:v>41310</c:v>
                </c:pt>
                <c:pt idx="301">
                  <c:v>41311</c:v>
                </c:pt>
                <c:pt idx="302">
                  <c:v>41312</c:v>
                </c:pt>
                <c:pt idx="303">
                  <c:v>41313</c:v>
                </c:pt>
                <c:pt idx="304">
                  <c:v>41316</c:v>
                </c:pt>
                <c:pt idx="305">
                  <c:v>41317</c:v>
                </c:pt>
                <c:pt idx="306">
                  <c:v>41318</c:v>
                </c:pt>
                <c:pt idx="307">
                  <c:v>41319</c:v>
                </c:pt>
                <c:pt idx="308">
                  <c:v>41320</c:v>
                </c:pt>
                <c:pt idx="309">
                  <c:v>41323</c:v>
                </c:pt>
                <c:pt idx="310">
                  <c:v>41324</c:v>
                </c:pt>
                <c:pt idx="311">
                  <c:v>41325</c:v>
                </c:pt>
                <c:pt idx="312">
                  <c:v>41326</c:v>
                </c:pt>
                <c:pt idx="313">
                  <c:v>41327</c:v>
                </c:pt>
                <c:pt idx="314">
                  <c:v>41330</c:v>
                </c:pt>
                <c:pt idx="315">
                  <c:v>41331</c:v>
                </c:pt>
                <c:pt idx="316">
                  <c:v>41332</c:v>
                </c:pt>
                <c:pt idx="317">
                  <c:v>41333</c:v>
                </c:pt>
                <c:pt idx="318">
                  <c:v>41334</c:v>
                </c:pt>
                <c:pt idx="319">
                  <c:v>41337</c:v>
                </c:pt>
                <c:pt idx="320">
                  <c:v>41338</c:v>
                </c:pt>
                <c:pt idx="321">
                  <c:v>41339</c:v>
                </c:pt>
                <c:pt idx="322">
                  <c:v>41340</c:v>
                </c:pt>
                <c:pt idx="323">
                  <c:v>41341</c:v>
                </c:pt>
                <c:pt idx="324">
                  <c:v>41344</c:v>
                </c:pt>
                <c:pt idx="325">
                  <c:v>41345</c:v>
                </c:pt>
                <c:pt idx="326">
                  <c:v>41346</c:v>
                </c:pt>
                <c:pt idx="327">
                  <c:v>41347</c:v>
                </c:pt>
                <c:pt idx="328">
                  <c:v>41348</c:v>
                </c:pt>
                <c:pt idx="329">
                  <c:v>41351</c:v>
                </c:pt>
                <c:pt idx="330">
                  <c:v>41352</c:v>
                </c:pt>
                <c:pt idx="331">
                  <c:v>41353</c:v>
                </c:pt>
                <c:pt idx="332">
                  <c:v>41354</c:v>
                </c:pt>
                <c:pt idx="333">
                  <c:v>41355</c:v>
                </c:pt>
                <c:pt idx="334">
                  <c:v>41358</c:v>
                </c:pt>
                <c:pt idx="335">
                  <c:v>41359</c:v>
                </c:pt>
                <c:pt idx="336">
                  <c:v>41360</c:v>
                </c:pt>
                <c:pt idx="337">
                  <c:v>41361</c:v>
                </c:pt>
                <c:pt idx="338">
                  <c:v>41366</c:v>
                </c:pt>
                <c:pt idx="339">
                  <c:v>41367</c:v>
                </c:pt>
                <c:pt idx="340">
                  <c:v>41368</c:v>
                </c:pt>
                <c:pt idx="341">
                  <c:v>41369</c:v>
                </c:pt>
                <c:pt idx="342">
                  <c:v>41372</c:v>
                </c:pt>
                <c:pt idx="343">
                  <c:v>41373</c:v>
                </c:pt>
                <c:pt idx="344">
                  <c:v>41374</c:v>
                </c:pt>
                <c:pt idx="345">
                  <c:v>41375</c:v>
                </c:pt>
                <c:pt idx="346">
                  <c:v>41376</c:v>
                </c:pt>
                <c:pt idx="347">
                  <c:v>41379</c:v>
                </c:pt>
                <c:pt idx="348">
                  <c:v>41380</c:v>
                </c:pt>
                <c:pt idx="349">
                  <c:v>41381</c:v>
                </c:pt>
                <c:pt idx="350">
                  <c:v>41382</c:v>
                </c:pt>
                <c:pt idx="351">
                  <c:v>41383</c:v>
                </c:pt>
                <c:pt idx="352">
                  <c:v>41386</c:v>
                </c:pt>
                <c:pt idx="353">
                  <c:v>41387</c:v>
                </c:pt>
                <c:pt idx="354">
                  <c:v>41388</c:v>
                </c:pt>
                <c:pt idx="355">
                  <c:v>41389</c:v>
                </c:pt>
                <c:pt idx="356">
                  <c:v>41390</c:v>
                </c:pt>
                <c:pt idx="357">
                  <c:v>41393</c:v>
                </c:pt>
                <c:pt idx="358">
                  <c:v>41394</c:v>
                </c:pt>
                <c:pt idx="359">
                  <c:v>41395</c:v>
                </c:pt>
                <c:pt idx="360">
                  <c:v>41396</c:v>
                </c:pt>
                <c:pt idx="361">
                  <c:v>41397</c:v>
                </c:pt>
                <c:pt idx="362">
                  <c:v>41400</c:v>
                </c:pt>
                <c:pt idx="363">
                  <c:v>41401</c:v>
                </c:pt>
                <c:pt idx="364">
                  <c:v>41402</c:v>
                </c:pt>
                <c:pt idx="365">
                  <c:v>41403</c:v>
                </c:pt>
                <c:pt idx="366">
                  <c:v>41404</c:v>
                </c:pt>
                <c:pt idx="367">
                  <c:v>41407</c:v>
                </c:pt>
                <c:pt idx="368">
                  <c:v>41408</c:v>
                </c:pt>
                <c:pt idx="369">
                  <c:v>41409</c:v>
                </c:pt>
                <c:pt idx="370">
                  <c:v>41410</c:v>
                </c:pt>
                <c:pt idx="371">
                  <c:v>41411</c:v>
                </c:pt>
                <c:pt idx="372">
                  <c:v>41414</c:v>
                </c:pt>
                <c:pt idx="373">
                  <c:v>41415</c:v>
                </c:pt>
                <c:pt idx="374">
                  <c:v>41416</c:v>
                </c:pt>
                <c:pt idx="375">
                  <c:v>41417</c:v>
                </c:pt>
                <c:pt idx="376">
                  <c:v>41418</c:v>
                </c:pt>
                <c:pt idx="377">
                  <c:v>41421</c:v>
                </c:pt>
                <c:pt idx="378">
                  <c:v>41422</c:v>
                </c:pt>
                <c:pt idx="379">
                  <c:v>41423</c:v>
                </c:pt>
                <c:pt idx="380">
                  <c:v>41424</c:v>
                </c:pt>
                <c:pt idx="381">
                  <c:v>41425</c:v>
                </c:pt>
                <c:pt idx="382">
                  <c:v>41428</c:v>
                </c:pt>
                <c:pt idx="383">
                  <c:v>41429</c:v>
                </c:pt>
                <c:pt idx="384">
                  <c:v>41430</c:v>
                </c:pt>
                <c:pt idx="385">
                  <c:v>41431</c:v>
                </c:pt>
                <c:pt idx="386">
                  <c:v>41432</c:v>
                </c:pt>
                <c:pt idx="387">
                  <c:v>41435</c:v>
                </c:pt>
                <c:pt idx="388">
                  <c:v>41436</c:v>
                </c:pt>
                <c:pt idx="389">
                  <c:v>41437</c:v>
                </c:pt>
                <c:pt idx="390">
                  <c:v>41438</c:v>
                </c:pt>
                <c:pt idx="391">
                  <c:v>41439</c:v>
                </c:pt>
                <c:pt idx="392">
                  <c:v>41442</c:v>
                </c:pt>
                <c:pt idx="393">
                  <c:v>41443</c:v>
                </c:pt>
                <c:pt idx="394">
                  <c:v>41444</c:v>
                </c:pt>
                <c:pt idx="395">
                  <c:v>41445</c:v>
                </c:pt>
                <c:pt idx="396">
                  <c:v>41446</c:v>
                </c:pt>
                <c:pt idx="397">
                  <c:v>41449</c:v>
                </c:pt>
                <c:pt idx="398">
                  <c:v>41450</c:v>
                </c:pt>
                <c:pt idx="399">
                  <c:v>41451</c:v>
                </c:pt>
                <c:pt idx="400">
                  <c:v>41452</c:v>
                </c:pt>
                <c:pt idx="401">
                  <c:v>41453</c:v>
                </c:pt>
                <c:pt idx="402">
                  <c:v>41456</c:v>
                </c:pt>
                <c:pt idx="403">
                  <c:v>41457</c:v>
                </c:pt>
                <c:pt idx="404">
                  <c:v>41458</c:v>
                </c:pt>
                <c:pt idx="405">
                  <c:v>41459</c:v>
                </c:pt>
                <c:pt idx="406">
                  <c:v>41460</c:v>
                </c:pt>
                <c:pt idx="407">
                  <c:v>41463</c:v>
                </c:pt>
                <c:pt idx="408">
                  <c:v>41464</c:v>
                </c:pt>
                <c:pt idx="409">
                  <c:v>41465</c:v>
                </c:pt>
                <c:pt idx="410">
                  <c:v>41466</c:v>
                </c:pt>
                <c:pt idx="411">
                  <c:v>41467</c:v>
                </c:pt>
                <c:pt idx="412">
                  <c:v>41470</c:v>
                </c:pt>
                <c:pt idx="413">
                  <c:v>41471</c:v>
                </c:pt>
                <c:pt idx="414">
                  <c:v>41472</c:v>
                </c:pt>
                <c:pt idx="415">
                  <c:v>41473</c:v>
                </c:pt>
                <c:pt idx="416">
                  <c:v>41474</c:v>
                </c:pt>
                <c:pt idx="417">
                  <c:v>41477</c:v>
                </c:pt>
                <c:pt idx="418">
                  <c:v>41478</c:v>
                </c:pt>
                <c:pt idx="419">
                  <c:v>41479</c:v>
                </c:pt>
                <c:pt idx="420">
                  <c:v>41480</c:v>
                </c:pt>
                <c:pt idx="421">
                  <c:v>41481</c:v>
                </c:pt>
                <c:pt idx="422">
                  <c:v>41484</c:v>
                </c:pt>
                <c:pt idx="423">
                  <c:v>41485</c:v>
                </c:pt>
                <c:pt idx="424">
                  <c:v>41486</c:v>
                </c:pt>
                <c:pt idx="425">
                  <c:v>41487</c:v>
                </c:pt>
                <c:pt idx="426">
                  <c:v>41488</c:v>
                </c:pt>
                <c:pt idx="427">
                  <c:v>41491</c:v>
                </c:pt>
                <c:pt idx="428">
                  <c:v>41492</c:v>
                </c:pt>
                <c:pt idx="429">
                  <c:v>41493</c:v>
                </c:pt>
                <c:pt idx="430">
                  <c:v>41494</c:v>
                </c:pt>
                <c:pt idx="431">
                  <c:v>41495</c:v>
                </c:pt>
                <c:pt idx="432">
                  <c:v>41498</c:v>
                </c:pt>
                <c:pt idx="433">
                  <c:v>41499</c:v>
                </c:pt>
                <c:pt idx="434">
                  <c:v>41500</c:v>
                </c:pt>
                <c:pt idx="435">
                  <c:v>41501</c:v>
                </c:pt>
                <c:pt idx="436">
                  <c:v>41502</c:v>
                </c:pt>
                <c:pt idx="437">
                  <c:v>41505</c:v>
                </c:pt>
                <c:pt idx="438">
                  <c:v>41506</c:v>
                </c:pt>
                <c:pt idx="439">
                  <c:v>41507</c:v>
                </c:pt>
                <c:pt idx="440">
                  <c:v>41508</c:v>
                </c:pt>
                <c:pt idx="441">
                  <c:v>41509</c:v>
                </c:pt>
                <c:pt idx="442">
                  <c:v>41512</c:v>
                </c:pt>
                <c:pt idx="443">
                  <c:v>41513</c:v>
                </c:pt>
                <c:pt idx="444">
                  <c:v>41514</c:v>
                </c:pt>
                <c:pt idx="445">
                  <c:v>41515</c:v>
                </c:pt>
                <c:pt idx="446">
                  <c:v>41516</c:v>
                </c:pt>
                <c:pt idx="447">
                  <c:v>41519</c:v>
                </c:pt>
                <c:pt idx="448">
                  <c:v>41520</c:v>
                </c:pt>
                <c:pt idx="449">
                  <c:v>41521</c:v>
                </c:pt>
                <c:pt idx="450">
                  <c:v>41522</c:v>
                </c:pt>
                <c:pt idx="451">
                  <c:v>41523</c:v>
                </c:pt>
                <c:pt idx="452">
                  <c:v>41526</c:v>
                </c:pt>
                <c:pt idx="453">
                  <c:v>41527</c:v>
                </c:pt>
                <c:pt idx="454">
                  <c:v>41528</c:v>
                </c:pt>
                <c:pt idx="455">
                  <c:v>41529</c:v>
                </c:pt>
                <c:pt idx="456">
                  <c:v>41530</c:v>
                </c:pt>
                <c:pt idx="457">
                  <c:v>41533</c:v>
                </c:pt>
                <c:pt idx="458">
                  <c:v>41534</c:v>
                </c:pt>
                <c:pt idx="459">
                  <c:v>41535</c:v>
                </c:pt>
                <c:pt idx="460">
                  <c:v>41536</c:v>
                </c:pt>
                <c:pt idx="461">
                  <c:v>41537</c:v>
                </c:pt>
                <c:pt idx="462">
                  <c:v>41540</c:v>
                </c:pt>
                <c:pt idx="463">
                  <c:v>41541</c:v>
                </c:pt>
                <c:pt idx="464">
                  <c:v>41542</c:v>
                </c:pt>
                <c:pt idx="465">
                  <c:v>41543</c:v>
                </c:pt>
                <c:pt idx="466">
                  <c:v>41544</c:v>
                </c:pt>
                <c:pt idx="467">
                  <c:v>41547</c:v>
                </c:pt>
                <c:pt idx="468">
                  <c:v>41548</c:v>
                </c:pt>
                <c:pt idx="469">
                  <c:v>41549</c:v>
                </c:pt>
                <c:pt idx="470">
                  <c:v>41550</c:v>
                </c:pt>
                <c:pt idx="471">
                  <c:v>41551</c:v>
                </c:pt>
                <c:pt idx="472">
                  <c:v>41554</c:v>
                </c:pt>
                <c:pt idx="473">
                  <c:v>41555</c:v>
                </c:pt>
                <c:pt idx="474">
                  <c:v>41556</c:v>
                </c:pt>
                <c:pt idx="475">
                  <c:v>41557</c:v>
                </c:pt>
                <c:pt idx="476">
                  <c:v>41558</c:v>
                </c:pt>
                <c:pt idx="477">
                  <c:v>41561</c:v>
                </c:pt>
                <c:pt idx="478">
                  <c:v>41562</c:v>
                </c:pt>
                <c:pt idx="479">
                  <c:v>41563</c:v>
                </c:pt>
                <c:pt idx="480">
                  <c:v>41564</c:v>
                </c:pt>
                <c:pt idx="481">
                  <c:v>41565</c:v>
                </c:pt>
                <c:pt idx="482">
                  <c:v>41568</c:v>
                </c:pt>
                <c:pt idx="483">
                  <c:v>41569</c:v>
                </c:pt>
                <c:pt idx="484">
                  <c:v>41570</c:v>
                </c:pt>
                <c:pt idx="485">
                  <c:v>41571</c:v>
                </c:pt>
                <c:pt idx="486">
                  <c:v>41572</c:v>
                </c:pt>
                <c:pt idx="487">
                  <c:v>41575</c:v>
                </c:pt>
                <c:pt idx="488">
                  <c:v>41576</c:v>
                </c:pt>
                <c:pt idx="489">
                  <c:v>41577</c:v>
                </c:pt>
                <c:pt idx="490">
                  <c:v>41578</c:v>
                </c:pt>
                <c:pt idx="491">
                  <c:v>41579</c:v>
                </c:pt>
                <c:pt idx="492">
                  <c:v>41582</c:v>
                </c:pt>
                <c:pt idx="493">
                  <c:v>41583</c:v>
                </c:pt>
                <c:pt idx="494">
                  <c:v>41584</c:v>
                </c:pt>
                <c:pt idx="495">
                  <c:v>41585</c:v>
                </c:pt>
                <c:pt idx="496">
                  <c:v>41586</c:v>
                </c:pt>
                <c:pt idx="497">
                  <c:v>41589</c:v>
                </c:pt>
                <c:pt idx="498">
                  <c:v>41590</c:v>
                </c:pt>
                <c:pt idx="499">
                  <c:v>41591</c:v>
                </c:pt>
                <c:pt idx="500">
                  <c:v>41592</c:v>
                </c:pt>
                <c:pt idx="501">
                  <c:v>41593</c:v>
                </c:pt>
                <c:pt idx="502">
                  <c:v>41596</c:v>
                </c:pt>
                <c:pt idx="503">
                  <c:v>41597</c:v>
                </c:pt>
                <c:pt idx="504">
                  <c:v>41598</c:v>
                </c:pt>
                <c:pt idx="505">
                  <c:v>41599</c:v>
                </c:pt>
                <c:pt idx="506">
                  <c:v>41600</c:v>
                </c:pt>
                <c:pt idx="507">
                  <c:v>41603</c:v>
                </c:pt>
                <c:pt idx="508">
                  <c:v>41604</c:v>
                </c:pt>
                <c:pt idx="509">
                  <c:v>41605</c:v>
                </c:pt>
                <c:pt idx="510">
                  <c:v>41606</c:v>
                </c:pt>
                <c:pt idx="511">
                  <c:v>41607</c:v>
                </c:pt>
                <c:pt idx="512">
                  <c:v>41610</c:v>
                </c:pt>
                <c:pt idx="513">
                  <c:v>41611</c:v>
                </c:pt>
                <c:pt idx="514">
                  <c:v>41612</c:v>
                </c:pt>
                <c:pt idx="515">
                  <c:v>41613</c:v>
                </c:pt>
                <c:pt idx="516">
                  <c:v>41614</c:v>
                </c:pt>
                <c:pt idx="517">
                  <c:v>41617</c:v>
                </c:pt>
                <c:pt idx="518">
                  <c:v>41618</c:v>
                </c:pt>
                <c:pt idx="519">
                  <c:v>41619</c:v>
                </c:pt>
                <c:pt idx="520">
                  <c:v>41620</c:v>
                </c:pt>
                <c:pt idx="521">
                  <c:v>41621</c:v>
                </c:pt>
                <c:pt idx="522">
                  <c:v>41624</c:v>
                </c:pt>
                <c:pt idx="523">
                  <c:v>41625</c:v>
                </c:pt>
                <c:pt idx="524">
                  <c:v>41626</c:v>
                </c:pt>
                <c:pt idx="525">
                  <c:v>41627</c:v>
                </c:pt>
                <c:pt idx="526">
                  <c:v>41628</c:v>
                </c:pt>
                <c:pt idx="527">
                  <c:v>41631</c:v>
                </c:pt>
                <c:pt idx="528">
                  <c:v>41632</c:v>
                </c:pt>
                <c:pt idx="529">
                  <c:v>41635</c:v>
                </c:pt>
                <c:pt idx="530">
                  <c:v>41638</c:v>
                </c:pt>
                <c:pt idx="531">
                  <c:v>41639</c:v>
                </c:pt>
                <c:pt idx="532">
                  <c:v>41641</c:v>
                </c:pt>
                <c:pt idx="533">
                  <c:v>41642</c:v>
                </c:pt>
                <c:pt idx="534">
                  <c:v>41645</c:v>
                </c:pt>
                <c:pt idx="535">
                  <c:v>41646</c:v>
                </c:pt>
                <c:pt idx="536">
                  <c:v>41647</c:v>
                </c:pt>
                <c:pt idx="537">
                  <c:v>41648</c:v>
                </c:pt>
                <c:pt idx="538">
                  <c:v>41649</c:v>
                </c:pt>
                <c:pt idx="539">
                  <c:v>41652</c:v>
                </c:pt>
                <c:pt idx="540">
                  <c:v>41653</c:v>
                </c:pt>
                <c:pt idx="541">
                  <c:v>41654</c:v>
                </c:pt>
                <c:pt idx="542">
                  <c:v>41655</c:v>
                </c:pt>
                <c:pt idx="543">
                  <c:v>41656</c:v>
                </c:pt>
                <c:pt idx="544">
                  <c:v>41659</c:v>
                </c:pt>
                <c:pt idx="545">
                  <c:v>41660</c:v>
                </c:pt>
                <c:pt idx="546">
                  <c:v>41661</c:v>
                </c:pt>
                <c:pt idx="547">
                  <c:v>41662</c:v>
                </c:pt>
                <c:pt idx="548">
                  <c:v>41663</c:v>
                </c:pt>
                <c:pt idx="549">
                  <c:v>41666</c:v>
                </c:pt>
                <c:pt idx="550">
                  <c:v>41667</c:v>
                </c:pt>
                <c:pt idx="551">
                  <c:v>41668</c:v>
                </c:pt>
                <c:pt idx="552">
                  <c:v>41669</c:v>
                </c:pt>
                <c:pt idx="553">
                  <c:v>41670</c:v>
                </c:pt>
                <c:pt idx="554">
                  <c:v>41673</c:v>
                </c:pt>
                <c:pt idx="555">
                  <c:v>41674</c:v>
                </c:pt>
                <c:pt idx="556">
                  <c:v>41675</c:v>
                </c:pt>
                <c:pt idx="557">
                  <c:v>41676</c:v>
                </c:pt>
                <c:pt idx="558">
                  <c:v>41677</c:v>
                </c:pt>
                <c:pt idx="559">
                  <c:v>41680</c:v>
                </c:pt>
                <c:pt idx="560">
                  <c:v>41681</c:v>
                </c:pt>
                <c:pt idx="561">
                  <c:v>41682</c:v>
                </c:pt>
                <c:pt idx="562">
                  <c:v>41683</c:v>
                </c:pt>
                <c:pt idx="563">
                  <c:v>41684</c:v>
                </c:pt>
                <c:pt idx="564">
                  <c:v>41687</c:v>
                </c:pt>
                <c:pt idx="565">
                  <c:v>41688</c:v>
                </c:pt>
                <c:pt idx="566">
                  <c:v>41689</c:v>
                </c:pt>
                <c:pt idx="567">
                  <c:v>41690</c:v>
                </c:pt>
                <c:pt idx="568">
                  <c:v>41691</c:v>
                </c:pt>
                <c:pt idx="569">
                  <c:v>41694</c:v>
                </c:pt>
                <c:pt idx="570">
                  <c:v>41695</c:v>
                </c:pt>
                <c:pt idx="571">
                  <c:v>41696</c:v>
                </c:pt>
                <c:pt idx="572">
                  <c:v>41697</c:v>
                </c:pt>
                <c:pt idx="573">
                  <c:v>41698</c:v>
                </c:pt>
                <c:pt idx="574">
                  <c:v>41701</c:v>
                </c:pt>
                <c:pt idx="575">
                  <c:v>41702</c:v>
                </c:pt>
                <c:pt idx="576">
                  <c:v>41703</c:v>
                </c:pt>
                <c:pt idx="577">
                  <c:v>41704</c:v>
                </c:pt>
                <c:pt idx="578">
                  <c:v>41705</c:v>
                </c:pt>
                <c:pt idx="579">
                  <c:v>41708</c:v>
                </c:pt>
                <c:pt idx="580">
                  <c:v>41709</c:v>
                </c:pt>
                <c:pt idx="581">
                  <c:v>41710</c:v>
                </c:pt>
                <c:pt idx="582">
                  <c:v>41711</c:v>
                </c:pt>
                <c:pt idx="583">
                  <c:v>41712</c:v>
                </c:pt>
                <c:pt idx="584">
                  <c:v>41715</c:v>
                </c:pt>
                <c:pt idx="585">
                  <c:v>41716</c:v>
                </c:pt>
                <c:pt idx="586">
                  <c:v>41717</c:v>
                </c:pt>
                <c:pt idx="587">
                  <c:v>41718</c:v>
                </c:pt>
                <c:pt idx="588">
                  <c:v>41719</c:v>
                </c:pt>
                <c:pt idx="589">
                  <c:v>41722</c:v>
                </c:pt>
                <c:pt idx="590">
                  <c:v>41723</c:v>
                </c:pt>
                <c:pt idx="591">
                  <c:v>41724</c:v>
                </c:pt>
                <c:pt idx="592">
                  <c:v>41725</c:v>
                </c:pt>
                <c:pt idx="593">
                  <c:v>41726</c:v>
                </c:pt>
                <c:pt idx="594">
                  <c:v>41729</c:v>
                </c:pt>
                <c:pt idx="595">
                  <c:v>41730</c:v>
                </c:pt>
                <c:pt idx="596">
                  <c:v>41731</c:v>
                </c:pt>
                <c:pt idx="597">
                  <c:v>41732</c:v>
                </c:pt>
                <c:pt idx="598">
                  <c:v>41733</c:v>
                </c:pt>
                <c:pt idx="599">
                  <c:v>41736</c:v>
                </c:pt>
                <c:pt idx="600">
                  <c:v>41737</c:v>
                </c:pt>
                <c:pt idx="601">
                  <c:v>41738</c:v>
                </c:pt>
                <c:pt idx="602">
                  <c:v>41739</c:v>
                </c:pt>
                <c:pt idx="603">
                  <c:v>41740</c:v>
                </c:pt>
                <c:pt idx="604">
                  <c:v>41743</c:v>
                </c:pt>
                <c:pt idx="605">
                  <c:v>41744</c:v>
                </c:pt>
                <c:pt idx="606">
                  <c:v>41745</c:v>
                </c:pt>
                <c:pt idx="607">
                  <c:v>41746</c:v>
                </c:pt>
                <c:pt idx="608">
                  <c:v>41751</c:v>
                </c:pt>
                <c:pt idx="609">
                  <c:v>41752</c:v>
                </c:pt>
                <c:pt idx="610">
                  <c:v>41753</c:v>
                </c:pt>
                <c:pt idx="611">
                  <c:v>41754</c:v>
                </c:pt>
                <c:pt idx="612">
                  <c:v>41757</c:v>
                </c:pt>
                <c:pt idx="613">
                  <c:v>41758</c:v>
                </c:pt>
                <c:pt idx="614">
                  <c:v>41759</c:v>
                </c:pt>
                <c:pt idx="615">
                  <c:v>41760</c:v>
                </c:pt>
                <c:pt idx="616">
                  <c:v>41761</c:v>
                </c:pt>
                <c:pt idx="617">
                  <c:v>41764</c:v>
                </c:pt>
                <c:pt idx="618">
                  <c:v>41765</c:v>
                </c:pt>
                <c:pt idx="619">
                  <c:v>41766</c:v>
                </c:pt>
                <c:pt idx="620">
                  <c:v>41767</c:v>
                </c:pt>
                <c:pt idx="621">
                  <c:v>41768</c:v>
                </c:pt>
                <c:pt idx="622">
                  <c:v>41771</c:v>
                </c:pt>
                <c:pt idx="623">
                  <c:v>41772</c:v>
                </c:pt>
                <c:pt idx="624">
                  <c:v>41773</c:v>
                </c:pt>
                <c:pt idx="625">
                  <c:v>41774</c:v>
                </c:pt>
                <c:pt idx="626">
                  <c:v>41775</c:v>
                </c:pt>
                <c:pt idx="627">
                  <c:v>41778</c:v>
                </c:pt>
                <c:pt idx="628">
                  <c:v>41779</c:v>
                </c:pt>
                <c:pt idx="629">
                  <c:v>41780</c:v>
                </c:pt>
                <c:pt idx="630">
                  <c:v>41781</c:v>
                </c:pt>
                <c:pt idx="631">
                  <c:v>41782</c:v>
                </c:pt>
                <c:pt idx="632">
                  <c:v>41785</c:v>
                </c:pt>
                <c:pt idx="633">
                  <c:v>41786</c:v>
                </c:pt>
                <c:pt idx="634">
                  <c:v>41787</c:v>
                </c:pt>
                <c:pt idx="635">
                  <c:v>41788</c:v>
                </c:pt>
                <c:pt idx="636">
                  <c:v>41789</c:v>
                </c:pt>
                <c:pt idx="637">
                  <c:v>41792</c:v>
                </c:pt>
                <c:pt idx="638">
                  <c:v>41793</c:v>
                </c:pt>
                <c:pt idx="639">
                  <c:v>41794</c:v>
                </c:pt>
                <c:pt idx="640">
                  <c:v>41795</c:v>
                </c:pt>
                <c:pt idx="641">
                  <c:v>41796</c:v>
                </c:pt>
                <c:pt idx="642">
                  <c:v>41799</c:v>
                </c:pt>
                <c:pt idx="643">
                  <c:v>41800</c:v>
                </c:pt>
                <c:pt idx="644">
                  <c:v>41801</c:v>
                </c:pt>
                <c:pt idx="645">
                  <c:v>41802</c:v>
                </c:pt>
                <c:pt idx="646">
                  <c:v>41803</c:v>
                </c:pt>
                <c:pt idx="647">
                  <c:v>41806</c:v>
                </c:pt>
                <c:pt idx="648">
                  <c:v>41807</c:v>
                </c:pt>
                <c:pt idx="649">
                  <c:v>41808</c:v>
                </c:pt>
                <c:pt idx="650">
                  <c:v>41809</c:v>
                </c:pt>
                <c:pt idx="651">
                  <c:v>41810</c:v>
                </c:pt>
                <c:pt idx="652">
                  <c:v>41813</c:v>
                </c:pt>
                <c:pt idx="653">
                  <c:v>41814</c:v>
                </c:pt>
                <c:pt idx="654">
                  <c:v>41815</c:v>
                </c:pt>
                <c:pt idx="655">
                  <c:v>41816</c:v>
                </c:pt>
                <c:pt idx="656">
                  <c:v>41817</c:v>
                </c:pt>
                <c:pt idx="657">
                  <c:v>41820</c:v>
                </c:pt>
                <c:pt idx="658">
                  <c:v>41821</c:v>
                </c:pt>
                <c:pt idx="659">
                  <c:v>41822</c:v>
                </c:pt>
                <c:pt idx="660">
                  <c:v>41823</c:v>
                </c:pt>
                <c:pt idx="661">
                  <c:v>41824</c:v>
                </c:pt>
                <c:pt idx="662">
                  <c:v>41827</c:v>
                </c:pt>
                <c:pt idx="663">
                  <c:v>41828</c:v>
                </c:pt>
                <c:pt idx="664">
                  <c:v>41829</c:v>
                </c:pt>
                <c:pt idx="665">
                  <c:v>41830</c:v>
                </c:pt>
                <c:pt idx="666">
                  <c:v>41831</c:v>
                </c:pt>
                <c:pt idx="667">
                  <c:v>41834</c:v>
                </c:pt>
                <c:pt idx="668">
                  <c:v>41835</c:v>
                </c:pt>
                <c:pt idx="669">
                  <c:v>41836</c:v>
                </c:pt>
                <c:pt idx="670">
                  <c:v>41837</c:v>
                </c:pt>
                <c:pt idx="671">
                  <c:v>41838</c:v>
                </c:pt>
                <c:pt idx="672">
                  <c:v>41841</c:v>
                </c:pt>
                <c:pt idx="673">
                  <c:v>41842</c:v>
                </c:pt>
                <c:pt idx="674">
                  <c:v>41843</c:v>
                </c:pt>
                <c:pt idx="675">
                  <c:v>41844</c:v>
                </c:pt>
                <c:pt idx="676">
                  <c:v>41845</c:v>
                </c:pt>
                <c:pt idx="677">
                  <c:v>41848</c:v>
                </c:pt>
                <c:pt idx="678">
                  <c:v>41849</c:v>
                </c:pt>
                <c:pt idx="679">
                  <c:v>41850</c:v>
                </c:pt>
                <c:pt idx="680">
                  <c:v>41851</c:v>
                </c:pt>
                <c:pt idx="681">
                  <c:v>41852</c:v>
                </c:pt>
                <c:pt idx="682">
                  <c:v>41855</c:v>
                </c:pt>
                <c:pt idx="683">
                  <c:v>41856</c:v>
                </c:pt>
                <c:pt idx="684">
                  <c:v>41857</c:v>
                </c:pt>
                <c:pt idx="685">
                  <c:v>41858</c:v>
                </c:pt>
                <c:pt idx="686">
                  <c:v>41859</c:v>
                </c:pt>
                <c:pt idx="687">
                  <c:v>41862</c:v>
                </c:pt>
                <c:pt idx="688">
                  <c:v>41863</c:v>
                </c:pt>
                <c:pt idx="689">
                  <c:v>41864</c:v>
                </c:pt>
                <c:pt idx="690">
                  <c:v>41865</c:v>
                </c:pt>
                <c:pt idx="691">
                  <c:v>41866</c:v>
                </c:pt>
                <c:pt idx="692">
                  <c:v>41869</c:v>
                </c:pt>
                <c:pt idx="693">
                  <c:v>41870</c:v>
                </c:pt>
                <c:pt idx="694">
                  <c:v>41871</c:v>
                </c:pt>
                <c:pt idx="695">
                  <c:v>41872</c:v>
                </c:pt>
                <c:pt idx="696">
                  <c:v>41873</c:v>
                </c:pt>
                <c:pt idx="697">
                  <c:v>41876</c:v>
                </c:pt>
                <c:pt idx="698">
                  <c:v>41877</c:v>
                </c:pt>
                <c:pt idx="699">
                  <c:v>41878</c:v>
                </c:pt>
                <c:pt idx="700">
                  <c:v>41879</c:v>
                </c:pt>
                <c:pt idx="701">
                  <c:v>41880</c:v>
                </c:pt>
                <c:pt idx="702">
                  <c:v>41883</c:v>
                </c:pt>
                <c:pt idx="703">
                  <c:v>41884</c:v>
                </c:pt>
                <c:pt idx="704">
                  <c:v>41885</c:v>
                </c:pt>
                <c:pt idx="705">
                  <c:v>41886</c:v>
                </c:pt>
                <c:pt idx="706">
                  <c:v>41887</c:v>
                </c:pt>
                <c:pt idx="707">
                  <c:v>41890</c:v>
                </c:pt>
                <c:pt idx="708">
                  <c:v>41891</c:v>
                </c:pt>
                <c:pt idx="709">
                  <c:v>41892</c:v>
                </c:pt>
                <c:pt idx="710">
                  <c:v>41893</c:v>
                </c:pt>
                <c:pt idx="711">
                  <c:v>41894</c:v>
                </c:pt>
                <c:pt idx="712">
                  <c:v>41897</c:v>
                </c:pt>
                <c:pt idx="713">
                  <c:v>41898</c:v>
                </c:pt>
                <c:pt idx="714">
                  <c:v>41899</c:v>
                </c:pt>
                <c:pt idx="715">
                  <c:v>41900</c:v>
                </c:pt>
                <c:pt idx="716">
                  <c:v>41901</c:v>
                </c:pt>
                <c:pt idx="717">
                  <c:v>41904</c:v>
                </c:pt>
                <c:pt idx="718">
                  <c:v>41905</c:v>
                </c:pt>
                <c:pt idx="719">
                  <c:v>41906</c:v>
                </c:pt>
                <c:pt idx="720">
                  <c:v>41907</c:v>
                </c:pt>
                <c:pt idx="721">
                  <c:v>41908</c:v>
                </c:pt>
                <c:pt idx="722">
                  <c:v>41911</c:v>
                </c:pt>
                <c:pt idx="723">
                  <c:v>41912</c:v>
                </c:pt>
                <c:pt idx="724">
                  <c:v>41913</c:v>
                </c:pt>
                <c:pt idx="725">
                  <c:v>41914</c:v>
                </c:pt>
                <c:pt idx="726">
                  <c:v>41915</c:v>
                </c:pt>
                <c:pt idx="727">
                  <c:v>41918</c:v>
                </c:pt>
                <c:pt idx="728">
                  <c:v>41919</c:v>
                </c:pt>
                <c:pt idx="729">
                  <c:v>41920</c:v>
                </c:pt>
                <c:pt idx="730">
                  <c:v>41921</c:v>
                </c:pt>
                <c:pt idx="731">
                  <c:v>41922</c:v>
                </c:pt>
                <c:pt idx="732">
                  <c:v>41925</c:v>
                </c:pt>
                <c:pt idx="733">
                  <c:v>41926</c:v>
                </c:pt>
                <c:pt idx="734">
                  <c:v>41927</c:v>
                </c:pt>
                <c:pt idx="735">
                  <c:v>41928</c:v>
                </c:pt>
                <c:pt idx="736">
                  <c:v>41929</c:v>
                </c:pt>
                <c:pt idx="737">
                  <c:v>41932</c:v>
                </c:pt>
                <c:pt idx="738">
                  <c:v>41933</c:v>
                </c:pt>
                <c:pt idx="739">
                  <c:v>41934</c:v>
                </c:pt>
                <c:pt idx="740">
                  <c:v>41935</c:v>
                </c:pt>
                <c:pt idx="741">
                  <c:v>41936</c:v>
                </c:pt>
                <c:pt idx="742">
                  <c:v>41939</c:v>
                </c:pt>
                <c:pt idx="743">
                  <c:v>41940</c:v>
                </c:pt>
                <c:pt idx="744">
                  <c:v>41941</c:v>
                </c:pt>
                <c:pt idx="745">
                  <c:v>41942</c:v>
                </c:pt>
                <c:pt idx="746">
                  <c:v>41943</c:v>
                </c:pt>
                <c:pt idx="747">
                  <c:v>41946</c:v>
                </c:pt>
                <c:pt idx="748">
                  <c:v>41947</c:v>
                </c:pt>
                <c:pt idx="749">
                  <c:v>41948</c:v>
                </c:pt>
                <c:pt idx="750">
                  <c:v>41949</c:v>
                </c:pt>
                <c:pt idx="751">
                  <c:v>41950</c:v>
                </c:pt>
                <c:pt idx="752">
                  <c:v>41953</c:v>
                </c:pt>
                <c:pt idx="753">
                  <c:v>41954</c:v>
                </c:pt>
                <c:pt idx="754">
                  <c:v>41955</c:v>
                </c:pt>
                <c:pt idx="755">
                  <c:v>41956</c:v>
                </c:pt>
                <c:pt idx="756">
                  <c:v>41957</c:v>
                </c:pt>
                <c:pt idx="757">
                  <c:v>41960</c:v>
                </c:pt>
              </c:numCache>
            </c:numRef>
          </c:cat>
          <c:val>
            <c:numRef>
              <c:f>Sheet1!$C$2:$C$759</c:f>
              <c:numCache>
                <c:formatCode>General</c:formatCode>
                <c:ptCount val="758"/>
                <c:pt idx="0">
                  <c:v>100</c:v>
                </c:pt>
                <c:pt idx="1">
                  <c:v>99.028338147874038</c:v>
                </c:pt>
                <c:pt idx="2">
                  <c:v>98.894645116623309</c:v>
                </c:pt>
                <c:pt idx="3">
                  <c:v>96.798529376656234</c:v>
                </c:pt>
                <c:pt idx="4">
                  <c:v>98.331224484923723</c:v>
                </c:pt>
                <c:pt idx="5">
                  <c:v>95.437725308568261</c:v>
                </c:pt>
                <c:pt idx="6">
                  <c:v>95.007997708119476</c:v>
                </c:pt>
                <c:pt idx="7">
                  <c:v>92.097786902857663</c:v>
                </c:pt>
                <c:pt idx="8">
                  <c:v>93.339222193043199</c:v>
                </c:pt>
                <c:pt idx="9">
                  <c:v>93.286699930766119</c:v>
                </c:pt>
                <c:pt idx="10">
                  <c:v>93.117196266144646</c:v>
                </c:pt>
                <c:pt idx="11">
                  <c:v>95.683624991047338</c:v>
                </c:pt>
                <c:pt idx="12">
                  <c:v>94.742999021176018</c:v>
                </c:pt>
                <c:pt idx="13">
                  <c:v>95.867452909017103</c:v>
                </c:pt>
                <c:pt idx="14">
                  <c:v>96.504882183016221</c:v>
                </c:pt>
                <c:pt idx="15">
                  <c:v>96.729295485472804</c:v>
                </c:pt>
                <c:pt idx="16">
                  <c:v>95.172726621624832</c:v>
                </c:pt>
                <c:pt idx="17">
                  <c:v>95.82925490008833</c:v>
                </c:pt>
                <c:pt idx="18">
                  <c:v>97.156635710363588</c:v>
                </c:pt>
                <c:pt idx="19">
                  <c:v>98.192756702556892</c:v>
                </c:pt>
                <c:pt idx="20">
                  <c:v>100.30319669587222</c:v>
                </c:pt>
                <c:pt idx="21">
                  <c:v>98.632033805237882</c:v>
                </c:pt>
                <c:pt idx="22">
                  <c:v>96.870150643397707</c:v>
                </c:pt>
                <c:pt idx="23">
                  <c:v>96.330603767278618</c:v>
                </c:pt>
                <c:pt idx="24">
                  <c:v>96.075154582567379</c:v>
                </c:pt>
                <c:pt idx="25">
                  <c:v>98.11874806025736</c:v>
                </c:pt>
                <c:pt idx="26">
                  <c:v>97.068302814715764</c:v>
                </c:pt>
                <c:pt idx="27">
                  <c:v>97.746317473201714</c:v>
                </c:pt>
                <c:pt idx="28">
                  <c:v>96.626638336476688</c:v>
                </c:pt>
                <c:pt idx="29">
                  <c:v>97.443120777329511</c:v>
                </c:pt>
                <c:pt idx="30">
                  <c:v>98.775276338720857</c:v>
                </c:pt>
                <c:pt idx="31">
                  <c:v>99.493876381693624</c:v>
                </c:pt>
                <c:pt idx="32">
                  <c:v>101.30350705469475</c:v>
                </c:pt>
                <c:pt idx="33">
                  <c:v>101.22949841239526</c:v>
                </c:pt>
                <c:pt idx="34">
                  <c:v>102.69534700503735</c:v>
                </c:pt>
                <c:pt idx="35">
                  <c:v>101.78814429297871</c:v>
                </c:pt>
                <c:pt idx="36">
                  <c:v>101.34647981473964</c:v>
                </c:pt>
                <c:pt idx="37">
                  <c:v>103.95588129968725</c:v>
                </c:pt>
                <c:pt idx="38">
                  <c:v>102.77174302289494</c:v>
                </c:pt>
                <c:pt idx="39">
                  <c:v>101.47062334375821</c:v>
                </c:pt>
                <c:pt idx="40">
                  <c:v>102.04836822880607</c:v>
                </c:pt>
                <c:pt idx="41">
                  <c:v>104.95141690739369</c:v>
                </c:pt>
                <c:pt idx="42">
                  <c:v>104.98722754076442</c:v>
                </c:pt>
                <c:pt idx="43">
                  <c:v>106.39100436889728</c:v>
                </c:pt>
                <c:pt idx="44">
                  <c:v>105.90397975505526</c:v>
                </c:pt>
                <c:pt idx="45">
                  <c:v>106.94487549836464</c:v>
                </c:pt>
                <c:pt idx="46">
                  <c:v>106.82550672046219</c:v>
                </c:pt>
                <c:pt idx="47">
                  <c:v>107.48203499892566</c:v>
                </c:pt>
                <c:pt idx="48">
                  <c:v>105.58645880583475</c:v>
                </c:pt>
                <c:pt idx="49">
                  <c:v>106.58676916465728</c:v>
                </c:pt>
                <c:pt idx="50">
                  <c:v>105.65091794590205</c:v>
                </c:pt>
                <c:pt idx="51">
                  <c:v>105.88965550170697</c:v>
                </c:pt>
                <c:pt idx="52">
                  <c:v>105.7535750948982</c:v>
                </c:pt>
                <c:pt idx="53">
                  <c:v>107.39370210327786</c:v>
                </c:pt>
                <c:pt idx="54">
                  <c:v>109.15319788955999</c:v>
                </c:pt>
                <c:pt idx="55">
                  <c:v>108.57067825339604</c:v>
                </c:pt>
                <c:pt idx="56">
                  <c:v>107.50590875450614</c:v>
                </c:pt>
                <c:pt idx="57">
                  <c:v>107.88788884379402</c:v>
                </c:pt>
                <c:pt idx="58">
                  <c:v>109.37999856757466</c:v>
                </c:pt>
                <c:pt idx="59">
                  <c:v>108.520543366677</c:v>
                </c:pt>
                <c:pt idx="60">
                  <c:v>108.94549621600973</c:v>
                </c:pt>
                <c:pt idx="61">
                  <c:v>108.61126363788287</c:v>
                </c:pt>
                <c:pt idx="62">
                  <c:v>109.37044906534246</c:v>
                </c:pt>
                <c:pt idx="63">
                  <c:v>108.38685033542626</c:v>
                </c:pt>
                <c:pt idx="64">
                  <c:v>107.94518585718717</c:v>
                </c:pt>
                <c:pt idx="65">
                  <c:v>104.13254709098287</c:v>
                </c:pt>
                <c:pt idx="66">
                  <c:v>104.90366939623273</c:v>
                </c:pt>
                <c:pt idx="67">
                  <c:v>107.83297920595889</c:v>
                </c:pt>
                <c:pt idx="68">
                  <c:v>107.11199178742807</c:v>
                </c:pt>
                <c:pt idx="69">
                  <c:v>107.04514527180268</c:v>
                </c:pt>
                <c:pt idx="70">
                  <c:v>108.68765965574043</c:v>
                </c:pt>
                <c:pt idx="71">
                  <c:v>108.32955332203309</c:v>
                </c:pt>
                <c:pt idx="72">
                  <c:v>108.98608160049656</c:v>
                </c:pt>
                <c:pt idx="73">
                  <c:v>110.40179530641964</c:v>
                </c:pt>
                <c:pt idx="74">
                  <c:v>110.87688304247141</c:v>
                </c:pt>
                <c:pt idx="75">
                  <c:v>109.4349082054098</c:v>
                </c:pt>
                <c:pt idx="76">
                  <c:v>109.08635137393463</c:v>
                </c:pt>
                <c:pt idx="77">
                  <c:v>107.84491608374913</c:v>
                </c:pt>
                <c:pt idx="78">
                  <c:v>108.48234535774822</c:v>
                </c:pt>
                <c:pt idx="79">
                  <c:v>110.01504046601569</c:v>
                </c:pt>
                <c:pt idx="80">
                  <c:v>109.49459259436102</c:v>
                </c:pt>
                <c:pt idx="81">
                  <c:v>108.10275264401842</c:v>
                </c:pt>
                <c:pt idx="82">
                  <c:v>106.64884092916658</c:v>
                </c:pt>
                <c:pt idx="83">
                  <c:v>108.04068087950913</c:v>
                </c:pt>
                <c:pt idx="84">
                  <c:v>109.53756535440588</c:v>
                </c:pt>
                <c:pt idx="85">
                  <c:v>108.66617327571801</c:v>
                </c:pt>
                <c:pt idx="86">
                  <c:v>104.65060758707953</c:v>
                </c:pt>
                <c:pt idx="87">
                  <c:v>104.38083414901999</c:v>
                </c:pt>
                <c:pt idx="88">
                  <c:v>101.92899945090362</c:v>
                </c:pt>
                <c:pt idx="89">
                  <c:v>102.99138157423545</c:v>
                </c:pt>
                <c:pt idx="90">
                  <c:v>104.61479695370879</c:v>
                </c:pt>
                <c:pt idx="91">
                  <c:v>102.33246592021391</c:v>
                </c:pt>
                <c:pt idx="92">
                  <c:v>102.54494234488027</c:v>
                </c:pt>
                <c:pt idx="93">
                  <c:v>105.29042423663664</c:v>
                </c:pt>
                <c:pt idx="94">
                  <c:v>104.47155442022587</c:v>
                </c:pt>
                <c:pt idx="95">
                  <c:v>104.16358297323751</c:v>
                </c:pt>
                <c:pt idx="96">
                  <c:v>105.24506410103372</c:v>
                </c:pt>
                <c:pt idx="97">
                  <c:v>102.21309714231145</c:v>
                </c:pt>
                <c:pt idx="98">
                  <c:v>103.90574641296824</c:v>
                </c:pt>
                <c:pt idx="99">
                  <c:v>104.89411989400053</c:v>
                </c:pt>
                <c:pt idx="100">
                  <c:v>105.38353188340056</c:v>
                </c:pt>
                <c:pt idx="101">
                  <c:v>106.46023826008069</c:v>
                </c:pt>
                <c:pt idx="102">
                  <c:v>105.60794518585719</c:v>
                </c:pt>
                <c:pt idx="103">
                  <c:v>105.97082627068065</c:v>
                </c:pt>
                <c:pt idx="104">
                  <c:v>105.0302003008093</c:v>
                </c:pt>
                <c:pt idx="105">
                  <c:v>105.10898369422492</c:v>
                </c:pt>
                <c:pt idx="106">
                  <c:v>103.06539021653498</c:v>
                </c:pt>
                <c:pt idx="107">
                  <c:v>103.32800152792035</c:v>
                </c:pt>
                <c:pt idx="108">
                  <c:v>101.21039940793086</c:v>
                </c:pt>
                <c:pt idx="109">
                  <c:v>100.47986248716785</c:v>
                </c:pt>
                <c:pt idx="110">
                  <c:v>101.35602931697186</c:v>
                </c:pt>
                <c:pt idx="111">
                  <c:v>101.6210280039153</c:v>
                </c:pt>
                <c:pt idx="112">
                  <c:v>98.98059063671306</c:v>
                </c:pt>
                <c:pt idx="113">
                  <c:v>97.834650368849537</c:v>
                </c:pt>
                <c:pt idx="114">
                  <c:v>97.094563945854318</c:v>
                </c:pt>
                <c:pt idx="115">
                  <c:v>95.764795760021002</c:v>
                </c:pt>
                <c:pt idx="116">
                  <c:v>94.848043545730192</c:v>
                </c:pt>
                <c:pt idx="117">
                  <c:v>95.76957051113709</c:v>
                </c:pt>
                <c:pt idx="118">
                  <c:v>97.538615799651438</c:v>
                </c:pt>
                <c:pt idx="119">
                  <c:v>94.146155131663789</c:v>
                </c:pt>
                <c:pt idx="120">
                  <c:v>95.101105354883373</c:v>
                </c:pt>
                <c:pt idx="121">
                  <c:v>94.826557165707726</c:v>
                </c:pt>
                <c:pt idx="122">
                  <c:v>95.022321961467739</c:v>
                </c:pt>
                <c:pt idx="123">
                  <c:v>95.728985126650272</c:v>
                </c:pt>
                <c:pt idx="124">
                  <c:v>93.236565044047083</c:v>
                </c:pt>
                <c:pt idx="125">
                  <c:v>92.706567670160183</c:v>
                </c:pt>
                <c:pt idx="126">
                  <c:v>90.920810752739499</c:v>
                </c:pt>
                <c:pt idx="127">
                  <c:v>91.426934371045903</c:v>
                </c:pt>
                <c:pt idx="128">
                  <c:v>91.479456633322997</c:v>
                </c:pt>
                <c:pt idx="129">
                  <c:v>93.916967078091062</c:v>
                </c:pt>
                <c:pt idx="130">
                  <c:v>95.459211688590742</c:v>
                </c:pt>
                <c:pt idx="131">
                  <c:v>94.478000334232576</c:v>
                </c:pt>
                <c:pt idx="132">
                  <c:v>94.81939503903358</c:v>
                </c:pt>
                <c:pt idx="133">
                  <c:v>95.003222957003345</c:v>
                </c:pt>
                <c:pt idx="134">
                  <c:v>95.549931959796609</c:v>
                </c:pt>
                <c:pt idx="135">
                  <c:v>95.437725308568261</c:v>
                </c:pt>
                <c:pt idx="136">
                  <c:v>96.5884403275479</c:v>
                </c:pt>
                <c:pt idx="137">
                  <c:v>96.347315396184968</c:v>
                </c:pt>
                <c:pt idx="138">
                  <c:v>98.646358058586188</c:v>
                </c:pt>
                <c:pt idx="139">
                  <c:v>99.419867739394078</c:v>
                </c:pt>
                <c:pt idx="140">
                  <c:v>98.17365769809247</c:v>
                </c:pt>
                <c:pt idx="141">
                  <c:v>96.910736027884553</c:v>
                </c:pt>
                <c:pt idx="142">
                  <c:v>95.007997708119476</c:v>
                </c:pt>
                <c:pt idx="143">
                  <c:v>94.85520567240431</c:v>
                </c:pt>
                <c:pt idx="144">
                  <c:v>96.044118700312737</c:v>
                </c:pt>
                <c:pt idx="145">
                  <c:v>95.344617661804364</c:v>
                </c:pt>
                <c:pt idx="146">
                  <c:v>99.959414615513168</c:v>
                </c:pt>
                <c:pt idx="147">
                  <c:v>100.56580800725763</c:v>
                </c:pt>
                <c:pt idx="148">
                  <c:v>101.75949578628212</c:v>
                </c:pt>
                <c:pt idx="149">
                  <c:v>100.98359872991622</c:v>
                </c:pt>
                <c:pt idx="150">
                  <c:v>99.785136199775607</c:v>
                </c:pt>
                <c:pt idx="151">
                  <c:v>98.214243082579316</c:v>
                </c:pt>
                <c:pt idx="152">
                  <c:v>97.794064984362677</c:v>
                </c:pt>
                <c:pt idx="153">
                  <c:v>98.273927471530556</c:v>
                </c:pt>
                <c:pt idx="154">
                  <c:v>98.226179960369549</c:v>
                </c:pt>
                <c:pt idx="155">
                  <c:v>96.669611096521578</c:v>
                </c:pt>
                <c:pt idx="156">
                  <c:v>98.460142765058364</c:v>
                </c:pt>
                <c:pt idx="157">
                  <c:v>98.610547425215472</c:v>
                </c:pt>
                <c:pt idx="158">
                  <c:v>98.149783942511988</c:v>
                </c:pt>
                <c:pt idx="159">
                  <c:v>99.665767421873156</c:v>
                </c:pt>
                <c:pt idx="160">
                  <c:v>100.7639601785757</c:v>
                </c:pt>
                <c:pt idx="161">
                  <c:v>98.586673669634948</c:v>
                </c:pt>
                <c:pt idx="162">
                  <c:v>95.73375987776636</c:v>
                </c:pt>
                <c:pt idx="163">
                  <c:v>95.034258839258015</c:v>
                </c:pt>
                <c:pt idx="164">
                  <c:v>95.282545897295108</c:v>
                </c:pt>
                <c:pt idx="165">
                  <c:v>99.064148781244768</c:v>
                </c:pt>
                <c:pt idx="166">
                  <c:v>100.88332895647811</c:v>
                </c:pt>
                <c:pt idx="167">
                  <c:v>101.43003795927137</c:v>
                </c:pt>
                <c:pt idx="168">
                  <c:v>101.04328311886744</c:v>
                </c:pt>
                <c:pt idx="169">
                  <c:v>101.36080406808794</c:v>
                </c:pt>
                <c:pt idx="170">
                  <c:v>98.973428510038914</c:v>
                </c:pt>
                <c:pt idx="171">
                  <c:v>102.88394967412322</c:v>
                </c:pt>
                <c:pt idx="172">
                  <c:v>103.96781817747751</c:v>
                </c:pt>
                <c:pt idx="173">
                  <c:v>104.80578699835273</c:v>
                </c:pt>
                <c:pt idx="174">
                  <c:v>104.57659894478002</c:v>
                </c:pt>
                <c:pt idx="175">
                  <c:v>104.58853582257024</c:v>
                </c:pt>
                <c:pt idx="176">
                  <c:v>104.48110392245805</c:v>
                </c:pt>
                <c:pt idx="177">
                  <c:v>104.34741089120729</c:v>
                </c:pt>
                <c:pt idx="178">
                  <c:v>104.79862487167857</c:v>
                </c:pt>
                <c:pt idx="179">
                  <c:v>104.46916704466777</c:v>
                </c:pt>
                <c:pt idx="180">
                  <c:v>105.4981259101869</c:v>
                </c:pt>
                <c:pt idx="181">
                  <c:v>105.55781029913814</c:v>
                </c:pt>
                <c:pt idx="182">
                  <c:v>105.42411726788738</c:v>
                </c:pt>
                <c:pt idx="183">
                  <c:v>107.03320839401246</c:v>
                </c:pt>
                <c:pt idx="184">
                  <c:v>105.64136844366988</c:v>
                </c:pt>
                <c:pt idx="185">
                  <c:v>105.99470002626113</c:v>
                </c:pt>
                <c:pt idx="186">
                  <c:v>105.56497242581231</c:v>
                </c:pt>
                <c:pt idx="187">
                  <c:v>106.03289803518992</c:v>
                </c:pt>
                <c:pt idx="188">
                  <c:v>105.71298971041134</c:v>
                </c:pt>
                <c:pt idx="189">
                  <c:v>105.27132523217226</c:v>
                </c:pt>
                <c:pt idx="190">
                  <c:v>104.22565473774679</c:v>
                </c:pt>
                <c:pt idx="191">
                  <c:v>105.61749468808938</c:v>
                </c:pt>
                <c:pt idx="192">
                  <c:v>106.31699572659774</c:v>
                </c:pt>
                <c:pt idx="193">
                  <c:v>104.94425478071956</c:v>
                </c:pt>
                <c:pt idx="194">
                  <c:v>105.35727075226204</c:v>
                </c:pt>
                <c:pt idx="195">
                  <c:v>108.08126626399599</c:v>
                </c:pt>
                <c:pt idx="196">
                  <c:v>109.7715281590947</c:v>
                </c:pt>
                <c:pt idx="197">
                  <c:v>109.4014849475971</c:v>
                </c:pt>
                <c:pt idx="198">
                  <c:v>110.27287702628499</c:v>
                </c:pt>
                <c:pt idx="199">
                  <c:v>110.78138802014945</c:v>
                </c:pt>
                <c:pt idx="200">
                  <c:v>110.74080263566262</c:v>
                </c:pt>
                <c:pt idx="201">
                  <c:v>114.26456895934301</c:v>
                </c:pt>
                <c:pt idx="202">
                  <c:v>113.78709384773317</c:v>
                </c:pt>
                <c:pt idx="203">
                  <c:v>112.58385656647644</c:v>
                </c:pt>
                <c:pt idx="204">
                  <c:v>113.06610642920238</c:v>
                </c:pt>
                <c:pt idx="205">
                  <c:v>111.98940005252224</c:v>
                </c:pt>
                <c:pt idx="206">
                  <c:v>112.83214362451358</c:v>
                </c:pt>
                <c:pt idx="207">
                  <c:v>111.79363525676223</c:v>
                </c:pt>
                <c:pt idx="208">
                  <c:v>112.65786520877599</c:v>
                </c:pt>
                <c:pt idx="209">
                  <c:v>109.55905173442832</c:v>
                </c:pt>
                <c:pt idx="210">
                  <c:v>110.12008499056986</c:v>
                </c:pt>
                <c:pt idx="211">
                  <c:v>108.86671282259411</c:v>
                </c:pt>
                <c:pt idx="212">
                  <c:v>110.77900064459139</c:v>
                </c:pt>
                <c:pt idx="213">
                  <c:v>110.74557738677871</c:v>
                </c:pt>
                <c:pt idx="214">
                  <c:v>110.36359729749086</c:v>
                </c:pt>
                <c:pt idx="215">
                  <c:v>111.23021462506266</c:v>
                </c:pt>
                <c:pt idx="216">
                  <c:v>112.84646787786185</c:v>
                </c:pt>
                <c:pt idx="217">
                  <c:v>110.96521593811921</c:v>
                </c:pt>
                <c:pt idx="218">
                  <c:v>109.84076205027813</c:v>
                </c:pt>
                <c:pt idx="219">
                  <c:v>109.30598992527514</c:v>
                </c:pt>
                <c:pt idx="220">
                  <c:v>110.52355145988015</c:v>
                </c:pt>
                <c:pt idx="221">
                  <c:v>110.15350824838255</c:v>
                </c:pt>
                <c:pt idx="222">
                  <c:v>110.45193019313867</c:v>
                </c:pt>
                <c:pt idx="223">
                  <c:v>112.66263995989208</c:v>
                </c:pt>
                <c:pt idx="224">
                  <c:v>114.07357891469907</c:v>
                </c:pt>
                <c:pt idx="225">
                  <c:v>114.03776828132833</c:v>
                </c:pt>
                <c:pt idx="226">
                  <c:v>112.64115357986965</c:v>
                </c:pt>
                <c:pt idx="227">
                  <c:v>112.5217848019672</c:v>
                </c:pt>
                <c:pt idx="228">
                  <c:v>109.7428796523981</c:v>
                </c:pt>
                <c:pt idx="229">
                  <c:v>110.28481390407525</c:v>
                </c:pt>
                <c:pt idx="230">
                  <c:v>110.49490295318354</c:v>
                </c:pt>
                <c:pt idx="231">
                  <c:v>110.37075942416502</c:v>
                </c:pt>
                <c:pt idx="232">
                  <c:v>109.71423114570152</c:v>
                </c:pt>
                <c:pt idx="233">
                  <c:v>111.27796213622368</c:v>
                </c:pt>
                <c:pt idx="234">
                  <c:v>110.51161458208989</c:v>
                </c:pt>
                <c:pt idx="235">
                  <c:v>111.72201399002077</c:v>
                </c:pt>
                <c:pt idx="236">
                  <c:v>111.39494353856803</c:v>
                </c:pt>
                <c:pt idx="237">
                  <c:v>110.19409363286938</c:v>
                </c:pt>
                <c:pt idx="238">
                  <c:v>110.9747654403514</c:v>
                </c:pt>
                <c:pt idx="239">
                  <c:v>109.12693675842145</c:v>
                </c:pt>
                <c:pt idx="240">
                  <c:v>108.70437128464678</c:v>
                </c:pt>
                <c:pt idx="241">
                  <c:v>108.42504834435502</c:v>
                </c:pt>
                <c:pt idx="242">
                  <c:v>108.1505001551794</c:v>
                </c:pt>
                <c:pt idx="243">
                  <c:v>108.58022775562823</c:v>
                </c:pt>
                <c:pt idx="244">
                  <c:v>107.78761907035594</c:v>
                </c:pt>
                <c:pt idx="245">
                  <c:v>107.26955857425931</c:v>
                </c:pt>
                <c:pt idx="246">
                  <c:v>105.47663953016449</c:v>
                </c:pt>
                <c:pt idx="247">
                  <c:v>108.7091460357629</c:v>
                </c:pt>
                <c:pt idx="248">
                  <c:v>108.96936997159024</c:v>
                </c:pt>
                <c:pt idx="249">
                  <c:v>109.4062596987132</c:v>
                </c:pt>
                <c:pt idx="250">
                  <c:v>110.61665910664405</c:v>
                </c:pt>
                <c:pt idx="251">
                  <c:v>111.91539141022272</c:v>
                </c:pt>
                <c:pt idx="252">
                  <c:v>111.43075417193877</c:v>
                </c:pt>
                <c:pt idx="253">
                  <c:v>111.48805118533195</c:v>
                </c:pt>
                <c:pt idx="254">
                  <c:v>111.43791629861293</c:v>
                </c:pt>
                <c:pt idx="255">
                  <c:v>113.33349249170388</c:v>
                </c:pt>
                <c:pt idx="256">
                  <c:v>113.35736624728435</c:v>
                </c:pt>
                <c:pt idx="257">
                  <c:v>114.07357891469907</c:v>
                </c:pt>
                <c:pt idx="258">
                  <c:v>114.25979420822689</c:v>
                </c:pt>
                <c:pt idx="259">
                  <c:v>114.38871248836155</c:v>
                </c:pt>
                <c:pt idx="260">
                  <c:v>114.45794637954496</c:v>
                </c:pt>
                <c:pt idx="261">
                  <c:v>114.08551579248932</c:v>
                </c:pt>
                <c:pt idx="262">
                  <c:v>114.22398357485615</c:v>
                </c:pt>
                <c:pt idx="263">
                  <c:v>115.25771719149138</c:v>
                </c:pt>
                <c:pt idx="264">
                  <c:v>115.69221954305631</c:v>
                </c:pt>
                <c:pt idx="265">
                  <c:v>115.69938166973046</c:v>
                </c:pt>
                <c:pt idx="266">
                  <c:v>115.79248931649435</c:v>
                </c:pt>
                <c:pt idx="267">
                  <c:v>116.18879365913051</c:v>
                </c:pt>
                <c:pt idx="268">
                  <c:v>117.17716714016279</c:v>
                </c:pt>
                <c:pt idx="269">
                  <c:v>118.08914460333753</c:v>
                </c:pt>
                <c:pt idx="270">
                  <c:v>117.95783894764486</c:v>
                </c:pt>
                <c:pt idx="271">
                  <c:v>117.04347410891205</c:v>
                </c:pt>
                <c:pt idx="272">
                  <c:v>117.04347410891205</c:v>
                </c:pt>
                <c:pt idx="273">
                  <c:v>117.33712130255212</c:v>
                </c:pt>
                <c:pt idx="274">
                  <c:v>116.56122424618616</c:v>
                </c:pt>
                <c:pt idx="275">
                  <c:v>116.60897175734715</c:v>
                </c:pt>
                <c:pt idx="276">
                  <c:v>119.47143505144795</c:v>
                </c:pt>
                <c:pt idx="277">
                  <c:v>118.80535727075228</c:v>
                </c:pt>
                <c:pt idx="278">
                  <c:v>118.75760975959125</c:v>
                </c:pt>
                <c:pt idx="279">
                  <c:v>118.75522238403325</c:v>
                </c:pt>
                <c:pt idx="280">
                  <c:v>118.29923365244585</c:v>
                </c:pt>
                <c:pt idx="281">
                  <c:v>118.90801441974837</c:v>
                </c:pt>
                <c:pt idx="282">
                  <c:v>120.14467495881776</c:v>
                </c:pt>
                <c:pt idx="283">
                  <c:v>121.19273282880127</c:v>
                </c:pt>
                <c:pt idx="284">
                  <c:v>120.92773414185784</c:v>
                </c:pt>
                <c:pt idx="285">
                  <c:v>120.7749421061427</c:v>
                </c:pt>
                <c:pt idx="286">
                  <c:v>120.35237663236802</c:v>
                </c:pt>
                <c:pt idx="287">
                  <c:v>121.46728101797693</c:v>
                </c:pt>
                <c:pt idx="288">
                  <c:v>120.72958197053978</c:v>
                </c:pt>
                <c:pt idx="289">
                  <c:v>121.26196671998473</c:v>
                </c:pt>
                <c:pt idx="290">
                  <c:v>120.95160789743835</c:v>
                </c:pt>
                <c:pt idx="291">
                  <c:v>121.14737269319834</c:v>
                </c:pt>
                <c:pt idx="292">
                  <c:v>122.3171867166424</c:v>
                </c:pt>
                <c:pt idx="293">
                  <c:v>123.59682001575669</c:v>
                </c:pt>
                <c:pt idx="294">
                  <c:v>123.31510969990688</c:v>
                </c:pt>
                <c:pt idx="295">
                  <c:v>123.87375558049038</c:v>
                </c:pt>
                <c:pt idx="296">
                  <c:v>124.00028648506694</c:v>
                </c:pt>
                <c:pt idx="297">
                  <c:v>123.43686585336738</c:v>
                </c:pt>
                <c:pt idx="298">
                  <c:v>124.9695609616349</c:v>
                </c:pt>
                <c:pt idx="299">
                  <c:v>121.87074748728722</c:v>
                </c:pt>
                <c:pt idx="300">
                  <c:v>122.31002458996825</c:v>
                </c:pt>
                <c:pt idx="301">
                  <c:v>121.96624250960919</c:v>
                </c:pt>
                <c:pt idx="302">
                  <c:v>120.35715138348412</c:v>
                </c:pt>
                <c:pt idx="303">
                  <c:v>121.74421658271064</c:v>
                </c:pt>
                <c:pt idx="304">
                  <c:v>120.99696803304127</c:v>
                </c:pt>
                <c:pt idx="305">
                  <c:v>122.38880798338387</c:v>
                </c:pt>
                <c:pt idx="306">
                  <c:v>122.73259006374293</c:v>
                </c:pt>
                <c:pt idx="307">
                  <c:v>121.66543318929499</c:v>
                </c:pt>
                <c:pt idx="308">
                  <c:v>121.55561391362475</c:v>
                </c:pt>
                <c:pt idx="309">
                  <c:v>121.31448898226178</c:v>
                </c:pt>
                <c:pt idx="310">
                  <c:v>122.73975219041706</c:v>
                </c:pt>
                <c:pt idx="311">
                  <c:v>122.51772626351851</c:v>
                </c:pt>
                <c:pt idx="312">
                  <c:v>119.40220116026453</c:v>
                </c:pt>
                <c:pt idx="313">
                  <c:v>120.40251151908706</c:v>
                </c:pt>
                <c:pt idx="314">
                  <c:v>120.81075273951345</c:v>
                </c:pt>
                <c:pt idx="315">
                  <c:v>118.01274858547997</c:v>
                </c:pt>
                <c:pt idx="316">
                  <c:v>119.42130016472889</c:v>
                </c:pt>
                <c:pt idx="317">
                  <c:v>120.24494473225582</c:v>
                </c:pt>
                <c:pt idx="318">
                  <c:v>119.04648220211523</c:v>
                </c:pt>
                <c:pt idx="319">
                  <c:v>119.23031012008497</c:v>
                </c:pt>
                <c:pt idx="320">
                  <c:v>121.53890228471838</c:v>
                </c:pt>
                <c:pt idx="321">
                  <c:v>121.03994079308617</c:v>
                </c:pt>
                <c:pt idx="322">
                  <c:v>121.78241459163941</c:v>
                </c:pt>
                <c:pt idx="323">
                  <c:v>121.81822522501014</c:v>
                </c:pt>
                <c:pt idx="324">
                  <c:v>122.01160264521209</c:v>
                </c:pt>
                <c:pt idx="325">
                  <c:v>122.11903454532431</c:v>
                </c:pt>
                <c:pt idx="326">
                  <c:v>121.49354214911547</c:v>
                </c:pt>
                <c:pt idx="327">
                  <c:v>123.10263327524052</c:v>
                </c:pt>
                <c:pt idx="328">
                  <c:v>123.48222598897031</c:v>
                </c:pt>
                <c:pt idx="329">
                  <c:v>122.21930431876238</c:v>
                </c:pt>
                <c:pt idx="330">
                  <c:v>121.02800391529588</c:v>
                </c:pt>
                <c:pt idx="331">
                  <c:v>122.09516078974383</c:v>
                </c:pt>
                <c:pt idx="332">
                  <c:v>121.07097667534079</c:v>
                </c:pt>
                <c:pt idx="333">
                  <c:v>121.57471291808915</c:v>
                </c:pt>
                <c:pt idx="334">
                  <c:v>120.18764771886264</c:v>
                </c:pt>
                <c:pt idx="335">
                  <c:v>120.17809821663046</c:v>
                </c:pt>
                <c:pt idx="336">
                  <c:v>118.939050302003</c:v>
                </c:pt>
                <c:pt idx="337">
                  <c:v>120.04679256093776</c:v>
                </c:pt>
                <c:pt idx="338">
                  <c:v>121.55561391362475</c:v>
                </c:pt>
                <c:pt idx="339">
                  <c:v>120.55530355480222</c:v>
                </c:pt>
                <c:pt idx="340">
                  <c:v>119.35922840021964</c:v>
                </c:pt>
                <c:pt idx="341">
                  <c:v>119.03215794876691</c:v>
                </c:pt>
                <c:pt idx="342">
                  <c:v>119.26134600233962</c:v>
                </c:pt>
                <c:pt idx="343">
                  <c:v>119.81282975624895</c:v>
                </c:pt>
                <c:pt idx="344">
                  <c:v>122.23124119655262</c:v>
                </c:pt>
                <c:pt idx="345">
                  <c:v>123.40105521999662</c:v>
                </c:pt>
                <c:pt idx="346">
                  <c:v>122.11425979420825</c:v>
                </c:pt>
                <c:pt idx="347">
                  <c:v>121.24525509107839</c:v>
                </c:pt>
                <c:pt idx="348">
                  <c:v>120.73196934609783</c:v>
                </c:pt>
                <c:pt idx="349">
                  <c:v>118.11063098336001</c:v>
                </c:pt>
                <c:pt idx="350">
                  <c:v>118.47589944374148</c:v>
                </c:pt>
                <c:pt idx="351">
                  <c:v>119.14675197555329</c:v>
                </c:pt>
                <c:pt idx="352">
                  <c:v>118.90323966863225</c:v>
                </c:pt>
                <c:pt idx="353">
                  <c:v>121.6606584381789</c:v>
                </c:pt>
                <c:pt idx="354">
                  <c:v>122.40074486117413</c:v>
                </c:pt>
                <c:pt idx="355">
                  <c:v>123.46790173562204</c:v>
                </c:pt>
                <c:pt idx="356">
                  <c:v>123.32943395325515</c:v>
                </c:pt>
                <c:pt idx="357">
                  <c:v>124.75230978585242</c:v>
                </c:pt>
                <c:pt idx="358">
                  <c:v>125.2966314130876</c:v>
                </c:pt>
                <c:pt idx="359">
                  <c:v>125.48523408217346</c:v>
                </c:pt>
                <c:pt idx="360">
                  <c:v>124.79289517033925</c:v>
                </c:pt>
                <c:pt idx="361">
                  <c:v>126.55477833217945</c:v>
                </c:pt>
                <c:pt idx="362">
                  <c:v>126.00090720271204</c:v>
                </c:pt>
                <c:pt idx="363">
                  <c:v>126.62162484780481</c:v>
                </c:pt>
                <c:pt idx="364">
                  <c:v>128.40976914078354</c:v>
                </c:pt>
                <c:pt idx="365">
                  <c:v>127.7556282378781</c:v>
                </c:pt>
                <c:pt idx="366">
                  <c:v>127.08716308162438</c:v>
                </c:pt>
                <c:pt idx="367">
                  <c:v>126.972569054838</c:v>
                </c:pt>
                <c:pt idx="368">
                  <c:v>127.47391792202831</c:v>
                </c:pt>
                <c:pt idx="369">
                  <c:v>127.39752190417076</c:v>
                </c:pt>
                <c:pt idx="370">
                  <c:v>127.93229402917372</c:v>
                </c:pt>
                <c:pt idx="371">
                  <c:v>127.35932389524199</c:v>
                </c:pt>
                <c:pt idx="372">
                  <c:v>128.1949053405591</c:v>
                </c:pt>
                <c:pt idx="373">
                  <c:v>128.46945352973478</c:v>
                </c:pt>
                <c:pt idx="374">
                  <c:v>128.81323561009381</c:v>
                </c:pt>
                <c:pt idx="375">
                  <c:v>126.33036502972284</c:v>
                </c:pt>
                <c:pt idx="376">
                  <c:v>126.36140091197743</c:v>
                </c:pt>
                <c:pt idx="377">
                  <c:v>126.86752453028384</c:v>
                </c:pt>
                <c:pt idx="378">
                  <c:v>127.6625205911142</c:v>
                </c:pt>
                <c:pt idx="379">
                  <c:v>126.39243679423208</c:v>
                </c:pt>
                <c:pt idx="380">
                  <c:v>127.71265547783324</c:v>
                </c:pt>
                <c:pt idx="381">
                  <c:v>125.68099887793352</c:v>
                </c:pt>
                <c:pt idx="382">
                  <c:v>125.40167593764173</c:v>
                </c:pt>
                <c:pt idx="383">
                  <c:v>126.23009525628474</c:v>
                </c:pt>
                <c:pt idx="384">
                  <c:v>124.53505861006995</c:v>
                </c:pt>
                <c:pt idx="385">
                  <c:v>124.12204263852746</c:v>
                </c:pt>
                <c:pt idx="386">
                  <c:v>125.95077231599304</c:v>
                </c:pt>
                <c:pt idx="387">
                  <c:v>125.6284766156564</c:v>
                </c:pt>
                <c:pt idx="388">
                  <c:v>124.89793969489338</c:v>
                </c:pt>
                <c:pt idx="389">
                  <c:v>125.12474037290808</c:v>
                </c:pt>
                <c:pt idx="390">
                  <c:v>124.70694965024951</c:v>
                </c:pt>
                <c:pt idx="391">
                  <c:v>125.35392842648076</c:v>
                </c:pt>
                <c:pt idx="392">
                  <c:v>126.33513978083893</c:v>
                </c:pt>
                <c:pt idx="393">
                  <c:v>126.66459760784964</c:v>
                </c:pt>
                <c:pt idx="394">
                  <c:v>126.49986869434431</c:v>
                </c:pt>
                <c:pt idx="395">
                  <c:v>120.65796070379828</c:v>
                </c:pt>
                <c:pt idx="396">
                  <c:v>118.91756392198056</c:v>
                </c:pt>
                <c:pt idx="397">
                  <c:v>116.57316112397642</c:v>
                </c:pt>
                <c:pt idx="398">
                  <c:v>118.09391935445367</c:v>
                </c:pt>
                <c:pt idx="399">
                  <c:v>119.49530880702844</c:v>
                </c:pt>
                <c:pt idx="400">
                  <c:v>120.28791749230069</c:v>
                </c:pt>
                <c:pt idx="401">
                  <c:v>119.66481247164991</c:v>
                </c:pt>
                <c:pt idx="402">
                  <c:v>121.38849762456132</c:v>
                </c:pt>
                <c:pt idx="403">
                  <c:v>120.89192350848714</c:v>
                </c:pt>
                <c:pt idx="404">
                  <c:v>119.63855134051136</c:v>
                </c:pt>
                <c:pt idx="405">
                  <c:v>121.89462124286771</c:v>
                </c:pt>
                <c:pt idx="406">
                  <c:v>119.55738057153771</c:v>
                </c:pt>
                <c:pt idx="407">
                  <c:v>121.52696540692816</c:v>
                </c:pt>
                <c:pt idx="408">
                  <c:v>121.69646907154963</c:v>
                </c:pt>
                <c:pt idx="409">
                  <c:v>122.49862725905412</c:v>
                </c:pt>
                <c:pt idx="410">
                  <c:v>124.96239883496069</c:v>
                </c:pt>
                <c:pt idx="411">
                  <c:v>124.93852507938026</c:v>
                </c:pt>
                <c:pt idx="412">
                  <c:v>125.40406331319977</c:v>
                </c:pt>
                <c:pt idx="413">
                  <c:v>125.3945138109676</c:v>
                </c:pt>
                <c:pt idx="414">
                  <c:v>125.71203476018813</c:v>
                </c:pt>
                <c:pt idx="415">
                  <c:v>126.84365077470335</c:v>
                </c:pt>
                <c:pt idx="416">
                  <c:v>127.34738701745169</c:v>
                </c:pt>
                <c:pt idx="417">
                  <c:v>128.06121230930836</c:v>
                </c:pt>
                <c:pt idx="418">
                  <c:v>127.93945615584785</c:v>
                </c:pt>
                <c:pt idx="419">
                  <c:v>128.83233461455822</c:v>
                </c:pt>
                <c:pt idx="420">
                  <c:v>128.1949053405591</c:v>
                </c:pt>
                <c:pt idx="421">
                  <c:v>128.16625683386255</c:v>
                </c:pt>
                <c:pt idx="422">
                  <c:v>128.12567144937569</c:v>
                </c:pt>
                <c:pt idx="423">
                  <c:v>128.2617518561845</c:v>
                </c:pt>
                <c:pt idx="424">
                  <c:v>128.60553393654357</c:v>
                </c:pt>
                <c:pt idx="425">
                  <c:v>129.76102370663926</c:v>
                </c:pt>
                <c:pt idx="426">
                  <c:v>130.61570415642083</c:v>
                </c:pt>
                <c:pt idx="427">
                  <c:v>130.44620049179937</c:v>
                </c:pt>
                <c:pt idx="428">
                  <c:v>130.59660515195642</c:v>
                </c:pt>
                <c:pt idx="429">
                  <c:v>130.49633537851841</c:v>
                </c:pt>
                <c:pt idx="430">
                  <c:v>131.73777066870386</c:v>
                </c:pt>
                <c:pt idx="431">
                  <c:v>132.1603361424786</c:v>
                </c:pt>
                <c:pt idx="432">
                  <c:v>131.65659989973022</c:v>
                </c:pt>
                <c:pt idx="433">
                  <c:v>131.82610356435168</c:v>
                </c:pt>
                <c:pt idx="434">
                  <c:v>132.5948384940435</c:v>
                </c:pt>
                <c:pt idx="435">
                  <c:v>131.0430443813116</c:v>
                </c:pt>
                <c:pt idx="436">
                  <c:v>132.2892544226132</c:v>
                </c:pt>
                <c:pt idx="437">
                  <c:v>131.77596867763268</c:v>
                </c:pt>
                <c:pt idx="438">
                  <c:v>131.42741184615753</c:v>
                </c:pt>
                <c:pt idx="439">
                  <c:v>130.29818320720034</c:v>
                </c:pt>
                <c:pt idx="440">
                  <c:v>131.25552080597797</c:v>
                </c:pt>
                <c:pt idx="441">
                  <c:v>132.33938930933226</c:v>
                </c:pt>
                <c:pt idx="442">
                  <c:v>131.9526344689283</c:v>
                </c:pt>
                <c:pt idx="443">
                  <c:v>129.76341108219731</c:v>
                </c:pt>
                <c:pt idx="444">
                  <c:v>128.78936185451334</c:v>
                </c:pt>
                <c:pt idx="445">
                  <c:v>128.62940769212403</c:v>
                </c:pt>
                <c:pt idx="446">
                  <c:v>127.0537398238117</c:v>
                </c:pt>
                <c:pt idx="447">
                  <c:v>129.47692601523144</c:v>
                </c:pt>
                <c:pt idx="448">
                  <c:v>128.6795425788431</c:v>
                </c:pt>
                <c:pt idx="449">
                  <c:v>129.3432329839807</c:v>
                </c:pt>
                <c:pt idx="450">
                  <c:v>129.52467352639238</c:v>
                </c:pt>
                <c:pt idx="451">
                  <c:v>130.56556926970183</c:v>
                </c:pt>
                <c:pt idx="452">
                  <c:v>131.40115071501896</c:v>
                </c:pt>
                <c:pt idx="453">
                  <c:v>133.23465514360063</c:v>
                </c:pt>
                <c:pt idx="454">
                  <c:v>134.06068708668556</c:v>
                </c:pt>
                <c:pt idx="455">
                  <c:v>134.07262396447584</c:v>
                </c:pt>
                <c:pt idx="456">
                  <c:v>133.88640867094799</c:v>
                </c:pt>
                <c:pt idx="457">
                  <c:v>135.68410246615895</c:v>
                </c:pt>
                <c:pt idx="458">
                  <c:v>135.01086255878914</c:v>
                </c:pt>
                <c:pt idx="459">
                  <c:v>135.58144531716283</c:v>
                </c:pt>
                <c:pt idx="460">
                  <c:v>138.3317019600353</c:v>
                </c:pt>
                <c:pt idx="461">
                  <c:v>137.62503879485283</c:v>
                </c:pt>
                <c:pt idx="462">
                  <c:v>136.78468259841955</c:v>
                </c:pt>
                <c:pt idx="463">
                  <c:v>137.05684341203715</c:v>
                </c:pt>
                <c:pt idx="464">
                  <c:v>137.14517630768498</c:v>
                </c:pt>
                <c:pt idx="465">
                  <c:v>136.87540286962542</c:v>
                </c:pt>
                <c:pt idx="466">
                  <c:v>137.1236899276625</c:v>
                </c:pt>
                <c:pt idx="467">
                  <c:v>136.32391911571608</c:v>
                </c:pt>
                <c:pt idx="468">
                  <c:v>137.26693246114547</c:v>
                </c:pt>
                <c:pt idx="469">
                  <c:v>137.02580752978255</c:v>
                </c:pt>
                <c:pt idx="470">
                  <c:v>136.81094372955809</c:v>
                </c:pt>
                <c:pt idx="471">
                  <c:v>136.68202544942343</c:v>
                </c:pt>
                <c:pt idx="472">
                  <c:v>136.12815431995608</c:v>
                </c:pt>
                <c:pt idx="473">
                  <c:v>135.34270776135793</c:v>
                </c:pt>
                <c:pt idx="474">
                  <c:v>133.82672428199677</c:v>
                </c:pt>
                <c:pt idx="475">
                  <c:v>136.14725332442043</c:v>
                </c:pt>
                <c:pt idx="476">
                  <c:v>137.13562680545277</c:v>
                </c:pt>
                <c:pt idx="477">
                  <c:v>137.63936304820109</c:v>
                </c:pt>
                <c:pt idx="478">
                  <c:v>137.94494711963137</c:v>
                </c:pt>
                <c:pt idx="479">
                  <c:v>138.16936042208798</c:v>
                </c:pt>
                <c:pt idx="480">
                  <c:v>140.12939575524626</c:v>
                </c:pt>
                <c:pt idx="481">
                  <c:v>141.55943371451764</c:v>
                </c:pt>
                <c:pt idx="482">
                  <c:v>141.83398190369326</c:v>
                </c:pt>
                <c:pt idx="483">
                  <c:v>143.48843316542127</c:v>
                </c:pt>
                <c:pt idx="484">
                  <c:v>142.74118461575191</c:v>
                </c:pt>
                <c:pt idx="485">
                  <c:v>143.57915343662714</c:v>
                </c:pt>
                <c:pt idx="486">
                  <c:v>143.35235275861245</c:v>
                </c:pt>
                <c:pt idx="487">
                  <c:v>142.99663380046317</c:v>
                </c:pt>
                <c:pt idx="488">
                  <c:v>143.40010026977345</c:v>
                </c:pt>
                <c:pt idx="489">
                  <c:v>143.43591090314416</c:v>
                </c:pt>
                <c:pt idx="490">
                  <c:v>142.2947453863967</c:v>
                </c:pt>
                <c:pt idx="491">
                  <c:v>140.78831140926781</c:v>
                </c:pt>
                <c:pt idx="492">
                  <c:v>141.46871344331174</c:v>
                </c:pt>
                <c:pt idx="493">
                  <c:v>140.82650941819659</c:v>
                </c:pt>
                <c:pt idx="494">
                  <c:v>142.05839520614987</c:v>
                </c:pt>
                <c:pt idx="495">
                  <c:v>140.52331272232436</c:v>
                </c:pt>
                <c:pt idx="496">
                  <c:v>139.95511733950866</c:v>
                </c:pt>
                <c:pt idx="497">
                  <c:v>140.93632869386684</c:v>
                </c:pt>
                <c:pt idx="498">
                  <c:v>140.42781770000238</c:v>
                </c:pt>
                <c:pt idx="499">
                  <c:v>139.33678706997398</c:v>
                </c:pt>
                <c:pt idx="500">
                  <c:v>141.03898584286296</c:v>
                </c:pt>
                <c:pt idx="501">
                  <c:v>141.47348819442789</c:v>
                </c:pt>
                <c:pt idx="502">
                  <c:v>142.75550886910023</c:v>
                </c:pt>
                <c:pt idx="503">
                  <c:v>141.81488289922885</c:v>
                </c:pt>
                <c:pt idx="504">
                  <c:v>141.37083104543174</c:v>
                </c:pt>
                <c:pt idx="505">
                  <c:v>141.13686824074293</c:v>
                </c:pt>
                <c:pt idx="506">
                  <c:v>141.95335068159574</c:v>
                </c:pt>
                <c:pt idx="507">
                  <c:v>142.38069090648651</c:v>
                </c:pt>
                <c:pt idx="508">
                  <c:v>142.09659321507863</c:v>
                </c:pt>
                <c:pt idx="509">
                  <c:v>143.04199393606606</c:v>
                </c:pt>
                <c:pt idx="510">
                  <c:v>143.82027836799006</c:v>
                </c:pt>
                <c:pt idx="511">
                  <c:v>143.97545777926325</c:v>
                </c:pt>
                <c:pt idx="512">
                  <c:v>142.8868145247929</c:v>
                </c:pt>
                <c:pt idx="513">
                  <c:v>141.01988683839858</c:v>
                </c:pt>
                <c:pt idx="514">
                  <c:v>139.89543295055745</c:v>
                </c:pt>
                <c:pt idx="515">
                  <c:v>139.67340702365888</c:v>
                </c:pt>
                <c:pt idx="516">
                  <c:v>140.89335593382194</c:v>
                </c:pt>
                <c:pt idx="517">
                  <c:v>141.55227158784345</c:v>
                </c:pt>
                <c:pt idx="518">
                  <c:v>141.08434597846588</c:v>
                </c:pt>
                <c:pt idx="519">
                  <c:v>140.56389810681117</c:v>
                </c:pt>
                <c:pt idx="520">
                  <c:v>138.81872657387734</c:v>
                </c:pt>
                <c:pt idx="521">
                  <c:v>138.36751259340608</c:v>
                </c:pt>
                <c:pt idx="522">
                  <c:v>140.36574593549312</c:v>
                </c:pt>
                <c:pt idx="523">
                  <c:v>139.08611263637883</c:v>
                </c:pt>
                <c:pt idx="524">
                  <c:v>140.61642036908825</c:v>
                </c:pt>
                <c:pt idx="525">
                  <c:v>142.08465633728841</c:v>
                </c:pt>
                <c:pt idx="526">
                  <c:v>142.86055339365436</c:v>
                </c:pt>
                <c:pt idx="527">
                  <c:v>144.25955547067107</c:v>
                </c:pt>
                <c:pt idx="528">
                  <c:v>144.20703320839402</c:v>
                </c:pt>
                <c:pt idx="529">
                  <c:v>146.92625396901187</c:v>
                </c:pt>
                <c:pt idx="530">
                  <c:v>147.0742712536109</c:v>
                </c:pt>
                <c:pt idx="531">
                  <c:v>147.21273903597776</c:v>
                </c:pt>
                <c:pt idx="532">
                  <c:v>144.839687731277</c:v>
                </c:pt>
                <c:pt idx="533">
                  <c:v>145.16914555828779</c:v>
                </c:pt>
                <c:pt idx="534">
                  <c:v>145.18585718719413</c:v>
                </c:pt>
                <c:pt idx="535">
                  <c:v>145.87580872347027</c:v>
                </c:pt>
                <c:pt idx="536">
                  <c:v>145.96891637023418</c:v>
                </c:pt>
                <c:pt idx="537">
                  <c:v>145.21450569389069</c:v>
                </c:pt>
                <c:pt idx="538">
                  <c:v>146.8259841955738</c:v>
                </c:pt>
                <c:pt idx="539">
                  <c:v>146.97877623128895</c:v>
                </c:pt>
                <c:pt idx="540">
                  <c:v>147.57084536968509</c:v>
                </c:pt>
                <c:pt idx="541">
                  <c:v>148.07219423687542</c:v>
                </c:pt>
                <c:pt idx="542">
                  <c:v>147.91940220116027</c:v>
                </c:pt>
                <c:pt idx="543">
                  <c:v>148.24647265261297</c:v>
                </c:pt>
                <c:pt idx="544">
                  <c:v>148.17246401031346</c:v>
                </c:pt>
                <c:pt idx="545">
                  <c:v>148.08174373910759</c:v>
                </c:pt>
                <c:pt idx="546">
                  <c:v>148.4493995750471</c:v>
                </c:pt>
                <c:pt idx="547">
                  <c:v>148.21543677035834</c:v>
                </c:pt>
                <c:pt idx="548">
                  <c:v>144.73464320672284</c:v>
                </c:pt>
                <c:pt idx="549">
                  <c:v>143.39055076754124</c:v>
                </c:pt>
                <c:pt idx="550">
                  <c:v>144.27149234846129</c:v>
                </c:pt>
                <c:pt idx="551">
                  <c:v>143.2902809941032</c:v>
                </c:pt>
                <c:pt idx="552">
                  <c:v>142.85577864253824</c:v>
                </c:pt>
                <c:pt idx="553">
                  <c:v>141.68357724353618</c:v>
                </c:pt>
                <c:pt idx="554">
                  <c:v>140.13178313080431</c:v>
                </c:pt>
                <c:pt idx="555">
                  <c:v>139.77128942153891</c:v>
                </c:pt>
                <c:pt idx="556">
                  <c:v>140.22250340201018</c:v>
                </c:pt>
                <c:pt idx="557">
                  <c:v>143.01334542936948</c:v>
                </c:pt>
                <c:pt idx="558">
                  <c:v>144.24045646620669</c:v>
                </c:pt>
                <c:pt idx="559">
                  <c:v>144.64153555995892</c:v>
                </c:pt>
                <c:pt idx="560">
                  <c:v>146.82837157113184</c:v>
                </c:pt>
                <c:pt idx="561">
                  <c:v>147.03607324468211</c:v>
                </c:pt>
                <c:pt idx="562">
                  <c:v>147.64246663642652</c:v>
                </c:pt>
                <c:pt idx="563">
                  <c:v>148.68336237973594</c:v>
                </c:pt>
                <c:pt idx="564">
                  <c:v>149.41389930049894</c:v>
                </c:pt>
                <c:pt idx="565">
                  <c:v>149.96060830329222</c:v>
                </c:pt>
                <c:pt idx="566">
                  <c:v>150.23993124358392</c:v>
                </c:pt>
                <c:pt idx="567">
                  <c:v>149.71948337192924</c:v>
                </c:pt>
                <c:pt idx="568">
                  <c:v>150.66249671735861</c:v>
                </c:pt>
                <c:pt idx="569">
                  <c:v>151.40019576479574</c:v>
                </c:pt>
                <c:pt idx="570">
                  <c:v>151.56969942941723</c:v>
                </c:pt>
                <c:pt idx="571">
                  <c:v>150.5455153150142</c:v>
                </c:pt>
                <c:pt idx="572">
                  <c:v>150.56461431947855</c:v>
                </c:pt>
                <c:pt idx="573">
                  <c:v>152.3599207391315</c:v>
                </c:pt>
                <c:pt idx="574">
                  <c:v>148.49714708620814</c:v>
                </c:pt>
                <c:pt idx="575">
                  <c:v>151.21159309570987</c:v>
                </c:pt>
                <c:pt idx="576">
                  <c:v>151.19726884236161</c:v>
                </c:pt>
                <c:pt idx="577">
                  <c:v>152.46496526368563</c:v>
                </c:pt>
                <c:pt idx="578">
                  <c:v>150.80096449972541</c:v>
                </c:pt>
                <c:pt idx="579">
                  <c:v>150.24231861914197</c:v>
                </c:pt>
                <c:pt idx="580">
                  <c:v>150.13966147014585</c:v>
                </c:pt>
                <c:pt idx="581">
                  <c:v>149.08205409793013</c:v>
                </c:pt>
                <c:pt idx="582">
                  <c:v>147.75944803877096</c:v>
                </c:pt>
                <c:pt idx="583">
                  <c:v>146.69467853988112</c:v>
                </c:pt>
                <c:pt idx="584">
                  <c:v>148.35629192828324</c:v>
                </c:pt>
                <c:pt idx="585">
                  <c:v>149.16322486690379</c:v>
                </c:pt>
                <c:pt idx="586">
                  <c:v>149.01282020674671</c:v>
                </c:pt>
                <c:pt idx="587">
                  <c:v>147.69976364981974</c:v>
                </c:pt>
                <c:pt idx="588">
                  <c:v>147.84300618330266</c:v>
                </c:pt>
                <c:pt idx="589">
                  <c:v>146.29837419724495</c:v>
                </c:pt>
                <c:pt idx="590">
                  <c:v>148.11994174803635</c:v>
                </c:pt>
                <c:pt idx="591">
                  <c:v>149.30408002482872</c:v>
                </c:pt>
                <c:pt idx="592">
                  <c:v>149.03191921121112</c:v>
                </c:pt>
                <c:pt idx="593">
                  <c:v>150.24231861914197</c:v>
                </c:pt>
                <c:pt idx="594">
                  <c:v>150.83916250865423</c:v>
                </c:pt>
                <c:pt idx="595">
                  <c:v>151.899157256428</c:v>
                </c:pt>
                <c:pt idx="596">
                  <c:v>151.89199512975387</c:v>
                </c:pt>
                <c:pt idx="597">
                  <c:v>151.49091603600164</c:v>
                </c:pt>
                <c:pt idx="598">
                  <c:v>152.15460644113926</c:v>
                </c:pt>
                <c:pt idx="599">
                  <c:v>150.80573925084153</c:v>
                </c:pt>
                <c:pt idx="600">
                  <c:v>150.89884689760547</c:v>
                </c:pt>
                <c:pt idx="601">
                  <c:v>151.84902236970896</c:v>
                </c:pt>
                <c:pt idx="602">
                  <c:v>151.71055458734216</c:v>
                </c:pt>
                <c:pt idx="603">
                  <c:v>149.68128536300046</c:v>
                </c:pt>
                <c:pt idx="604">
                  <c:v>149.50939432282092</c:v>
                </c:pt>
                <c:pt idx="605">
                  <c:v>148.16530188363933</c:v>
                </c:pt>
                <c:pt idx="606">
                  <c:v>149.92479766992145</c:v>
                </c:pt>
                <c:pt idx="607">
                  <c:v>150.99434191992745</c:v>
                </c:pt>
                <c:pt idx="608">
                  <c:v>152.67744168835199</c:v>
                </c:pt>
                <c:pt idx="609">
                  <c:v>152.20951607897436</c:v>
                </c:pt>
                <c:pt idx="610">
                  <c:v>152.61059517272662</c:v>
                </c:pt>
                <c:pt idx="611">
                  <c:v>151.65803232506502</c:v>
                </c:pt>
                <c:pt idx="612">
                  <c:v>152.03285028767877</c:v>
                </c:pt>
                <c:pt idx="613">
                  <c:v>153.56554539594623</c:v>
                </c:pt>
                <c:pt idx="614">
                  <c:v>154.12180390097166</c:v>
                </c:pt>
                <c:pt idx="615">
                  <c:v>154.3963520901473</c:v>
                </c:pt>
                <c:pt idx="616">
                  <c:v>154.16238928545849</c:v>
                </c:pt>
                <c:pt idx="617">
                  <c:v>154.02392150309166</c:v>
                </c:pt>
                <c:pt idx="618">
                  <c:v>154.23878530331604</c:v>
                </c:pt>
                <c:pt idx="619">
                  <c:v>154.2316231766419</c:v>
                </c:pt>
                <c:pt idx="620">
                  <c:v>155.25103253992887</c:v>
                </c:pt>
                <c:pt idx="621">
                  <c:v>153.61806765822331</c:v>
                </c:pt>
                <c:pt idx="622">
                  <c:v>154.80698068613174</c:v>
                </c:pt>
                <c:pt idx="623">
                  <c:v>154.69954878601953</c:v>
                </c:pt>
                <c:pt idx="624">
                  <c:v>154.74013417050637</c:v>
                </c:pt>
                <c:pt idx="625">
                  <c:v>153.43662711581158</c:v>
                </c:pt>
                <c:pt idx="626">
                  <c:v>153.60135602931697</c:v>
                </c:pt>
                <c:pt idx="627">
                  <c:v>153.63716666268769</c:v>
                </c:pt>
                <c:pt idx="628">
                  <c:v>153.31725833790915</c:v>
                </c:pt>
                <c:pt idx="629">
                  <c:v>153.93558860744386</c:v>
                </c:pt>
                <c:pt idx="630">
                  <c:v>154.17193878769072</c:v>
                </c:pt>
                <c:pt idx="631">
                  <c:v>154.24833480554827</c:v>
                </c:pt>
                <c:pt idx="632">
                  <c:v>155.36562656671521</c:v>
                </c:pt>
                <c:pt idx="633">
                  <c:v>155.31071692888011</c:v>
                </c:pt>
                <c:pt idx="634">
                  <c:v>155.0767541241913</c:v>
                </c:pt>
                <c:pt idx="635">
                  <c:v>155.39427507341185</c:v>
                </c:pt>
                <c:pt idx="636">
                  <c:v>155.62346312698452</c:v>
                </c:pt>
                <c:pt idx="637">
                  <c:v>155.61152624919424</c:v>
                </c:pt>
                <c:pt idx="638">
                  <c:v>155.04571824193661</c:v>
                </c:pt>
                <c:pt idx="639">
                  <c:v>155.13643851314248</c:v>
                </c:pt>
                <c:pt idx="640">
                  <c:v>155.70702127151623</c:v>
                </c:pt>
                <c:pt idx="641">
                  <c:v>157.02485257955928</c:v>
                </c:pt>
                <c:pt idx="642">
                  <c:v>157.08931171962661</c:v>
                </c:pt>
                <c:pt idx="643">
                  <c:v>157.04156420846562</c:v>
                </c:pt>
                <c:pt idx="644">
                  <c:v>156.08183923412992</c:v>
                </c:pt>
                <c:pt idx="645">
                  <c:v>156.33728841884115</c:v>
                </c:pt>
                <c:pt idx="646">
                  <c:v>155.73089502709669</c:v>
                </c:pt>
                <c:pt idx="647">
                  <c:v>155.51603122687229</c:v>
                </c:pt>
                <c:pt idx="648">
                  <c:v>155.61868837586843</c:v>
                </c:pt>
                <c:pt idx="649">
                  <c:v>155.82877742497672</c:v>
                </c:pt>
                <c:pt idx="650">
                  <c:v>157.44264330221785</c:v>
                </c:pt>
                <c:pt idx="651">
                  <c:v>156.76462864373198</c:v>
                </c:pt>
                <c:pt idx="652">
                  <c:v>156.17733425645187</c:v>
                </c:pt>
                <c:pt idx="653">
                  <c:v>155.88607443836992</c:v>
                </c:pt>
                <c:pt idx="654">
                  <c:v>154.69716141046143</c:v>
                </c:pt>
                <c:pt idx="655">
                  <c:v>154.16238928545849</c:v>
                </c:pt>
                <c:pt idx="656">
                  <c:v>154.79981855945758</c:v>
                </c:pt>
                <c:pt idx="657">
                  <c:v>155.33220330890251</c:v>
                </c:pt>
                <c:pt idx="658">
                  <c:v>156.58318810132022</c:v>
                </c:pt>
                <c:pt idx="659">
                  <c:v>156.66913362141</c:v>
                </c:pt>
                <c:pt idx="660">
                  <c:v>157.64079547353592</c:v>
                </c:pt>
                <c:pt idx="661">
                  <c:v>156.96278081505002</c:v>
                </c:pt>
                <c:pt idx="662">
                  <c:v>155.62346312698452</c:v>
                </c:pt>
                <c:pt idx="663">
                  <c:v>153.65387829159405</c:v>
                </c:pt>
                <c:pt idx="664">
                  <c:v>153.94991286079213</c:v>
                </c:pt>
                <c:pt idx="665">
                  <c:v>151.88722037863778</c:v>
                </c:pt>
                <c:pt idx="666">
                  <c:v>152.10924630553632</c:v>
                </c:pt>
                <c:pt idx="667">
                  <c:v>153.72788693389353</c:v>
                </c:pt>
                <c:pt idx="668">
                  <c:v>152.48883901926612</c:v>
                </c:pt>
                <c:pt idx="669">
                  <c:v>154.16716403657458</c:v>
                </c:pt>
                <c:pt idx="670">
                  <c:v>152.51748752596271</c:v>
                </c:pt>
                <c:pt idx="671">
                  <c:v>152.38618187026998</c:v>
                </c:pt>
                <c:pt idx="672">
                  <c:v>151.74159046959673</c:v>
                </c:pt>
                <c:pt idx="673">
                  <c:v>153.15491679996177</c:v>
                </c:pt>
                <c:pt idx="674">
                  <c:v>153.31248358679301</c:v>
                </c:pt>
                <c:pt idx="675">
                  <c:v>154.03347100532386</c:v>
                </c:pt>
                <c:pt idx="676">
                  <c:v>152.56046028600755</c:v>
                </c:pt>
                <c:pt idx="677">
                  <c:v>152.36230811468951</c:v>
                </c:pt>
                <c:pt idx="678">
                  <c:v>152.45541576145342</c:v>
                </c:pt>
                <c:pt idx="679">
                  <c:v>151.2760522357772</c:v>
                </c:pt>
                <c:pt idx="680">
                  <c:v>149.31362952706087</c:v>
                </c:pt>
                <c:pt idx="681">
                  <c:v>148.04115835462076</c:v>
                </c:pt>
                <c:pt idx="682">
                  <c:v>147.60188125193974</c:v>
                </c:pt>
                <c:pt idx="683">
                  <c:v>147.47296297180509</c:v>
                </c:pt>
                <c:pt idx="684">
                  <c:v>146.15274428820396</c:v>
                </c:pt>
                <c:pt idx="685">
                  <c:v>145.10946116933653</c:v>
                </c:pt>
                <c:pt idx="686">
                  <c:v>144.88027311576386</c:v>
                </c:pt>
                <c:pt idx="687">
                  <c:v>146.57053501086256</c:v>
                </c:pt>
                <c:pt idx="688">
                  <c:v>145.96652899467614</c:v>
                </c:pt>
                <c:pt idx="689">
                  <c:v>146.92386659345377</c:v>
                </c:pt>
                <c:pt idx="690">
                  <c:v>147.37746794948313</c:v>
                </c:pt>
                <c:pt idx="691">
                  <c:v>146.81882206889964</c:v>
                </c:pt>
                <c:pt idx="692">
                  <c:v>148.33241817270272</c:v>
                </c:pt>
                <c:pt idx="693">
                  <c:v>148.67381287750374</c:v>
                </c:pt>
                <c:pt idx="694">
                  <c:v>148.31093179268026</c:v>
                </c:pt>
                <c:pt idx="695">
                  <c:v>149.26349464034186</c:v>
                </c:pt>
                <c:pt idx="696">
                  <c:v>148.33241817270272</c:v>
                </c:pt>
                <c:pt idx="697">
                  <c:v>149.59056509179462</c:v>
                </c:pt>
                <c:pt idx="698">
                  <c:v>150.74844223744839</c:v>
                </c:pt>
                <c:pt idx="699">
                  <c:v>150.92033327762792</c:v>
                </c:pt>
                <c:pt idx="700">
                  <c:v>149.60488934514288</c:v>
                </c:pt>
                <c:pt idx="701">
                  <c:v>149.98448205887266</c:v>
                </c:pt>
                <c:pt idx="702">
                  <c:v>149.96299567885023</c:v>
                </c:pt>
                <c:pt idx="703">
                  <c:v>149.75051925418387</c:v>
                </c:pt>
                <c:pt idx="704">
                  <c:v>150.92749540430205</c:v>
                </c:pt>
                <c:pt idx="705">
                  <c:v>150.66249671735861</c:v>
                </c:pt>
                <c:pt idx="706">
                  <c:v>150.00119368777899</c:v>
                </c:pt>
                <c:pt idx="707">
                  <c:v>149.2467830114355</c:v>
                </c:pt>
                <c:pt idx="708">
                  <c:v>148.33241817270272</c:v>
                </c:pt>
                <c:pt idx="709">
                  <c:v>148.28944541265787</c:v>
                </c:pt>
                <c:pt idx="710">
                  <c:v>148.38494043497982</c:v>
                </c:pt>
                <c:pt idx="711">
                  <c:v>148.35390455272517</c:v>
                </c:pt>
                <c:pt idx="712">
                  <c:v>148.20588726812613</c:v>
                </c:pt>
                <c:pt idx="713">
                  <c:v>147.78809654546754</c:v>
                </c:pt>
                <c:pt idx="714">
                  <c:v>148.65232649748131</c:v>
                </c:pt>
                <c:pt idx="715">
                  <c:v>149.68367273855853</c:v>
                </c:pt>
                <c:pt idx="716">
                  <c:v>149.06534246902376</c:v>
                </c:pt>
                <c:pt idx="717">
                  <c:v>148.10561749468812</c:v>
                </c:pt>
                <c:pt idx="718">
                  <c:v>146.53472437749181</c:v>
                </c:pt>
                <c:pt idx="719">
                  <c:v>146.8594074533865</c:v>
                </c:pt>
                <c:pt idx="720">
                  <c:v>145.03306515147898</c:v>
                </c:pt>
                <c:pt idx="721">
                  <c:v>144.81103922458044</c:v>
                </c:pt>
                <c:pt idx="722">
                  <c:v>144.15928569723306</c:v>
                </c:pt>
                <c:pt idx="723">
                  <c:v>144.42667175973455</c:v>
                </c:pt>
                <c:pt idx="724">
                  <c:v>142.81041850693532</c:v>
                </c:pt>
                <c:pt idx="725">
                  <c:v>140.021963855134</c:v>
                </c:pt>
                <c:pt idx="726">
                  <c:v>139.76173991930671</c:v>
                </c:pt>
                <c:pt idx="727">
                  <c:v>140.74295127366486</c:v>
                </c:pt>
                <c:pt idx="728">
                  <c:v>139.24606679876811</c:v>
                </c:pt>
                <c:pt idx="729">
                  <c:v>138.67548404039439</c:v>
                </c:pt>
                <c:pt idx="730">
                  <c:v>138.41048535345095</c:v>
                </c:pt>
                <c:pt idx="731">
                  <c:v>135.34270776135793</c:v>
                </c:pt>
                <c:pt idx="732">
                  <c:v>135.91329051973167</c:v>
                </c:pt>
                <c:pt idx="733">
                  <c:v>135.76527323513261</c:v>
                </c:pt>
                <c:pt idx="734">
                  <c:v>132.42294745386397</c:v>
                </c:pt>
                <c:pt idx="735">
                  <c:v>132.07916537350491</c:v>
                </c:pt>
                <c:pt idx="736">
                  <c:v>135.62680545276578</c:v>
                </c:pt>
                <c:pt idx="737">
                  <c:v>135.08487120108865</c:v>
                </c:pt>
                <c:pt idx="738">
                  <c:v>137.40062549239622</c:v>
                </c:pt>
                <c:pt idx="739">
                  <c:v>137.72053381717478</c:v>
                </c:pt>
                <c:pt idx="740">
                  <c:v>138.48449399575048</c:v>
                </c:pt>
                <c:pt idx="741">
                  <c:v>138.24336906438751</c:v>
                </c:pt>
                <c:pt idx="742">
                  <c:v>137.83512784396115</c:v>
                </c:pt>
                <c:pt idx="743">
                  <c:v>139.55881299687255</c:v>
                </c:pt>
                <c:pt idx="744">
                  <c:v>139.93840571060232</c:v>
                </c:pt>
                <c:pt idx="745">
                  <c:v>139.22935516986178</c:v>
                </c:pt>
                <c:pt idx="746">
                  <c:v>140.75488815145511</c:v>
                </c:pt>
                <c:pt idx="747">
                  <c:v>139.19593191204905</c:v>
                </c:pt>
                <c:pt idx="748">
                  <c:v>138.75426743381004</c:v>
                </c:pt>
                <c:pt idx="749">
                  <c:v>140.12462100413018</c:v>
                </c:pt>
                <c:pt idx="750">
                  <c:v>139.9145319550218</c:v>
                </c:pt>
                <c:pt idx="751">
                  <c:v>138.90467209396709</c:v>
                </c:pt>
                <c:pt idx="752">
                  <c:v>140.2535392842648</c:v>
                </c:pt>
                <c:pt idx="753">
                  <c:v>140.57106023348533</c:v>
                </c:pt>
                <c:pt idx="754">
                  <c:v>139.55881299687255</c:v>
                </c:pt>
                <c:pt idx="755">
                  <c:v>139.8834960727672</c:v>
                </c:pt>
                <c:pt idx="756">
                  <c:v>139.84768543939646</c:v>
                </c:pt>
                <c:pt idx="757">
                  <c:v>140.2678635376131</c:v>
                </c:pt>
              </c:numCache>
            </c:numRef>
          </c:val>
          <c:smooth val="0"/>
        </c:ser>
        <c:dLbls>
          <c:showLegendKey val="0"/>
          <c:showVal val="0"/>
          <c:showCatName val="0"/>
          <c:showSerName val="0"/>
          <c:showPercent val="0"/>
          <c:showBubbleSize val="0"/>
        </c:dLbls>
        <c:marker val="1"/>
        <c:smooth val="0"/>
        <c:axId val="232292352"/>
        <c:axId val="232293888"/>
      </c:lineChart>
      <c:dateAx>
        <c:axId val="232292352"/>
        <c:scaling>
          <c:orientation val="minMax"/>
        </c:scaling>
        <c:delete val="0"/>
        <c:axPos val="b"/>
        <c:numFmt formatCode="[$-409]mmm\-yy;@" sourceLinked="0"/>
        <c:majorTickMark val="in"/>
        <c:minorTickMark val="in"/>
        <c:tickLblPos val="nextTo"/>
        <c:spPr>
          <a:ln w="3164">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32293888"/>
        <c:crosses val="autoZero"/>
        <c:auto val="1"/>
        <c:lblOffset val="100"/>
        <c:baseTimeUnit val="days"/>
        <c:majorUnit val="6"/>
        <c:majorTimeUnit val="months"/>
      </c:dateAx>
      <c:valAx>
        <c:axId val="232293888"/>
        <c:scaling>
          <c:orientation val="minMax"/>
        </c:scaling>
        <c:delete val="0"/>
        <c:axPos val="l"/>
        <c:majorGridlines>
          <c:spPr>
            <a:ln w="12657">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232292352"/>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49212577499135E-2"/>
          <c:y val="6.2156292963379579E-2"/>
          <c:w val="0.93086392240802185"/>
          <c:h val="0.85010748656417945"/>
        </c:manualLayout>
      </c:layout>
      <c:lineChart>
        <c:grouping val="standard"/>
        <c:varyColors val="0"/>
        <c:ser>
          <c:idx val="0"/>
          <c:order val="0"/>
          <c:tx>
            <c:strRef>
              <c:f>Sheet1!$B$1</c:f>
              <c:strCache>
                <c:ptCount val="1"/>
                <c:pt idx="0">
                  <c:v>STOXX Global Max Dividend 40</c:v>
                </c:pt>
              </c:strCache>
            </c:strRef>
          </c:tx>
          <c:spPr>
            <a:ln w="28575">
              <a:solidFill>
                <a:schemeClr val="accent1"/>
              </a:solidFill>
              <a:prstDash val="solid"/>
            </a:ln>
          </c:spPr>
          <c:marker>
            <c:symbol val="none"/>
          </c:marker>
          <c:cat>
            <c:numRef>
              <c:f>Sheet1!$A$2:$A$560</c:f>
              <c:numCache>
                <c:formatCode>m/d/yyyy</c:formatCode>
                <c:ptCount val="559"/>
                <c:pt idx="0">
                  <c:v>41164</c:v>
                </c:pt>
                <c:pt idx="1">
                  <c:v>41165</c:v>
                </c:pt>
                <c:pt idx="2">
                  <c:v>41166</c:v>
                </c:pt>
                <c:pt idx="3">
                  <c:v>41169</c:v>
                </c:pt>
                <c:pt idx="4">
                  <c:v>41170</c:v>
                </c:pt>
                <c:pt idx="5">
                  <c:v>41171</c:v>
                </c:pt>
                <c:pt idx="6">
                  <c:v>41172</c:v>
                </c:pt>
                <c:pt idx="7">
                  <c:v>41173</c:v>
                </c:pt>
                <c:pt idx="8">
                  <c:v>41176</c:v>
                </c:pt>
                <c:pt idx="9">
                  <c:v>41177</c:v>
                </c:pt>
                <c:pt idx="10">
                  <c:v>41178</c:v>
                </c:pt>
                <c:pt idx="11">
                  <c:v>41179</c:v>
                </c:pt>
                <c:pt idx="12">
                  <c:v>41180</c:v>
                </c:pt>
                <c:pt idx="13">
                  <c:v>41183</c:v>
                </c:pt>
                <c:pt idx="14">
                  <c:v>41184</c:v>
                </c:pt>
                <c:pt idx="15">
                  <c:v>41185</c:v>
                </c:pt>
                <c:pt idx="16">
                  <c:v>41186</c:v>
                </c:pt>
                <c:pt idx="17">
                  <c:v>41187</c:v>
                </c:pt>
                <c:pt idx="18">
                  <c:v>41190</c:v>
                </c:pt>
                <c:pt idx="19">
                  <c:v>41191</c:v>
                </c:pt>
                <c:pt idx="20">
                  <c:v>41192</c:v>
                </c:pt>
                <c:pt idx="21">
                  <c:v>41193</c:v>
                </c:pt>
                <c:pt idx="22">
                  <c:v>41194</c:v>
                </c:pt>
                <c:pt idx="23">
                  <c:v>41197</c:v>
                </c:pt>
                <c:pt idx="24">
                  <c:v>41198</c:v>
                </c:pt>
                <c:pt idx="25">
                  <c:v>41199</c:v>
                </c:pt>
                <c:pt idx="26">
                  <c:v>41200</c:v>
                </c:pt>
                <c:pt idx="27">
                  <c:v>41201</c:v>
                </c:pt>
                <c:pt idx="28">
                  <c:v>41204</c:v>
                </c:pt>
                <c:pt idx="29">
                  <c:v>41205</c:v>
                </c:pt>
                <c:pt idx="30">
                  <c:v>41206</c:v>
                </c:pt>
                <c:pt idx="31">
                  <c:v>41207</c:v>
                </c:pt>
                <c:pt idx="32">
                  <c:v>41208</c:v>
                </c:pt>
                <c:pt idx="33">
                  <c:v>41211</c:v>
                </c:pt>
                <c:pt idx="34">
                  <c:v>41212</c:v>
                </c:pt>
                <c:pt idx="35">
                  <c:v>41213</c:v>
                </c:pt>
                <c:pt idx="36">
                  <c:v>41214</c:v>
                </c:pt>
                <c:pt idx="37">
                  <c:v>41215</c:v>
                </c:pt>
                <c:pt idx="38">
                  <c:v>41218</c:v>
                </c:pt>
                <c:pt idx="39">
                  <c:v>41219</c:v>
                </c:pt>
                <c:pt idx="40">
                  <c:v>41220</c:v>
                </c:pt>
                <c:pt idx="41">
                  <c:v>41221</c:v>
                </c:pt>
                <c:pt idx="42">
                  <c:v>41222</c:v>
                </c:pt>
                <c:pt idx="43">
                  <c:v>41225</c:v>
                </c:pt>
                <c:pt idx="44">
                  <c:v>41226</c:v>
                </c:pt>
                <c:pt idx="45">
                  <c:v>41227</c:v>
                </c:pt>
                <c:pt idx="46">
                  <c:v>41228</c:v>
                </c:pt>
                <c:pt idx="47">
                  <c:v>41229</c:v>
                </c:pt>
                <c:pt idx="48">
                  <c:v>41232</c:v>
                </c:pt>
                <c:pt idx="49">
                  <c:v>41233</c:v>
                </c:pt>
                <c:pt idx="50">
                  <c:v>41234</c:v>
                </c:pt>
                <c:pt idx="51">
                  <c:v>41235</c:v>
                </c:pt>
                <c:pt idx="52">
                  <c:v>41236</c:v>
                </c:pt>
                <c:pt idx="53">
                  <c:v>41239</c:v>
                </c:pt>
                <c:pt idx="54">
                  <c:v>41240</c:v>
                </c:pt>
                <c:pt idx="55">
                  <c:v>41241</c:v>
                </c:pt>
                <c:pt idx="56">
                  <c:v>41242</c:v>
                </c:pt>
                <c:pt idx="57">
                  <c:v>41243</c:v>
                </c:pt>
                <c:pt idx="58">
                  <c:v>41246</c:v>
                </c:pt>
                <c:pt idx="59">
                  <c:v>41247</c:v>
                </c:pt>
                <c:pt idx="60">
                  <c:v>41248</c:v>
                </c:pt>
                <c:pt idx="61">
                  <c:v>41249</c:v>
                </c:pt>
                <c:pt idx="62">
                  <c:v>41250</c:v>
                </c:pt>
                <c:pt idx="63">
                  <c:v>41253</c:v>
                </c:pt>
                <c:pt idx="64">
                  <c:v>41254</c:v>
                </c:pt>
                <c:pt idx="65">
                  <c:v>41255</c:v>
                </c:pt>
                <c:pt idx="66">
                  <c:v>41256</c:v>
                </c:pt>
                <c:pt idx="67">
                  <c:v>41257</c:v>
                </c:pt>
                <c:pt idx="68">
                  <c:v>41260</c:v>
                </c:pt>
                <c:pt idx="69">
                  <c:v>41261</c:v>
                </c:pt>
                <c:pt idx="70">
                  <c:v>41262</c:v>
                </c:pt>
                <c:pt idx="71">
                  <c:v>41263</c:v>
                </c:pt>
                <c:pt idx="72">
                  <c:v>41264</c:v>
                </c:pt>
                <c:pt idx="73">
                  <c:v>41267</c:v>
                </c:pt>
                <c:pt idx="74">
                  <c:v>41270</c:v>
                </c:pt>
                <c:pt idx="75">
                  <c:v>41271</c:v>
                </c:pt>
                <c:pt idx="76">
                  <c:v>41274</c:v>
                </c:pt>
                <c:pt idx="77">
                  <c:v>41276</c:v>
                </c:pt>
                <c:pt idx="78">
                  <c:v>41277</c:v>
                </c:pt>
                <c:pt idx="79">
                  <c:v>41278</c:v>
                </c:pt>
                <c:pt idx="80">
                  <c:v>41281</c:v>
                </c:pt>
                <c:pt idx="81">
                  <c:v>41282</c:v>
                </c:pt>
                <c:pt idx="82">
                  <c:v>41283</c:v>
                </c:pt>
                <c:pt idx="83">
                  <c:v>41284</c:v>
                </c:pt>
                <c:pt idx="84">
                  <c:v>41285</c:v>
                </c:pt>
                <c:pt idx="85">
                  <c:v>41288</c:v>
                </c:pt>
                <c:pt idx="86">
                  <c:v>41289</c:v>
                </c:pt>
                <c:pt idx="87">
                  <c:v>41290</c:v>
                </c:pt>
                <c:pt idx="88">
                  <c:v>41291</c:v>
                </c:pt>
                <c:pt idx="89">
                  <c:v>41292</c:v>
                </c:pt>
                <c:pt idx="90">
                  <c:v>41295</c:v>
                </c:pt>
                <c:pt idx="91">
                  <c:v>41296</c:v>
                </c:pt>
                <c:pt idx="92">
                  <c:v>41297</c:v>
                </c:pt>
                <c:pt idx="93">
                  <c:v>41298</c:v>
                </c:pt>
                <c:pt idx="94">
                  <c:v>41299</c:v>
                </c:pt>
                <c:pt idx="95">
                  <c:v>41302</c:v>
                </c:pt>
                <c:pt idx="96">
                  <c:v>41303</c:v>
                </c:pt>
                <c:pt idx="97">
                  <c:v>41304</c:v>
                </c:pt>
                <c:pt idx="98">
                  <c:v>41305</c:v>
                </c:pt>
                <c:pt idx="99">
                  <c:v>41306</c:v>
                </c:pt>
                <c:pt idx="100">
                  <c:v>41309</c:v>
                </c:pt>
                <c:pt idx="101">
                  <c:v>41310</c:v>
                </c:pt>
                <c:pt idx="102">
                  <c:v>41311</c:v>
                </c:pt>
                <c:pt idx="103">
                  <c:v>41312</c:v>
                </c:pt>
                <c:pt idx="104">
                  <c:v>41313</c:v>
                </c:pt>
                <c:pt idx="105">
                  <c:v>41316</c:v>
                </c:pt>
                <c:pt idx="106">
                  <c:v>41317</c:v>
                </c:pt>
                <c:pt idx="107">
                  <c:v>41318</c:v>
                </c:pt>
                <c:pt idx="108">
                  <c:v>41319</c:v>
                </c:pt>
                <c:pt idx="109">
                  <c:v>41320</c:v>
                </c:pt>
                <c:pt idx="110">
                  <c:v>41323</c:v>
                </c:pt>
                <c:pt idx="111">
                  <c:v>41324</c:v>
                </c:pt>
                <c:pt idx="112">
                  <c:v>41325</c:v>
                </c:pt>
                <c:pt idx="113">
                  <c:v>41326</c:v>
                </c:pt>
                <c:pt idx="114">
                  <c:v>41327</c:v>
                </c:pt>
                <c:pt idx="115">
                  <c:v>41330</c:v>
                </c:pt>
                <c:pt idx="116">
                  <c:v>41331</c:v>
                </c:pt>
                <c:pt idx="117">
                  <c:v>41332</c:v>
                </c:pt>
                <c:pt idx="118">
                  <c:v>41333</c:v>
                </c:pt>
                <c:pt idx="119">
                  <c:v>41334</c:v>
                </c:pt>
                <c:pt idx="120">
                  <c:v>41337</c:v>
                </c:pt>
                <c:pt idx="121">
                  <c:v>41338</c:v>
                </c:pt>
                <c:pt idx="122">
                  <c:v>41339</c:v>
                </c:pt>
                <c:pt idx="123">
                  <c:v>41340</c:v>
                </c:pt>
                <c:pt idx="124">
                  <c:v>41341</c:v>
                </c:pt>
                <c:pt idx="125">
                  <c:v>41344</c:v>
                </c:pt>
                <c:pt idx="126">
                  <c:v>41345</c:v>
                </c:pt>
                <c:pt idx="127">
                  <c:v>41346</c:v>
                </c:pt>
                <c:pt idx="128">
                  <c:v>41347</c:v>
                </c:pt>
                <c:pt idx="129">
                  <c:v>41348</c:v>
                </c:pt>
                <c:pt idx="130">
                  <c:v>41351</c:v>
                </c:pt>
                <c:pt idx="131">
                  <c:v>41352</c:v>
                </c:pt>
                <c:pt idx="132">
                  <c:v>41353</c:v>
                </c:pt>
                <c:pt idx="133">
                  <c:v>41354</c:v>
                </c:pt>
                <c:pt idx="134">
                  <c:v>41355</c:v>
                </c:pt>
                <c:pt idx="135">
                  <c:v>41358</c:v>
                </c:pt>
                <c:pt idx="136">
                  <c:v>41359</c:v>
                </c:pt>
                <c:pt idx="137">
                  <c:v>41360</c:v>
                </c:pt>
                <c:pt idx="138">
                  <c:v>41361</c:v>
                </c:pt>
                <c:pt idx="139">
                  <c:v>41366</c:v>
                </c:pt>
                <c:pt idx="140">
                  <c:v>41367</c:v>
                </c:pt>
                <c:pt idx="141">
                  <c:v>41368</c:v>
                </c:pt>
                <c:pt idx="142">
                  <c:v>41369</c:v>
                </c:pt>
                <c:pt idx="143">
                  <c:v>41372</c:v>
                </c:pt>
                <c:pt idx="144">
                  <c:v>41373</c:v>
                </c:pt>
                <c:pt idx="145">
                  <c:v>41374</c:v>
                </c:pt>
                <c:pt idx="146">
                  <c:v>41375</c:v>
                </c:pt>
                <c:pt idx="147">
                  <c:v>41376</c:v>
                </c:pt>
                <c:pt idx="148">
                  <c:v>41379</c:v>
                </c:pt>
                <c:pt idx="149">
                  <c:v>41380</c:v>
                </c:pt>
                <c:pt idx="150">
                  <c:v>41381</c:v>
                </c:pt>
                <c:pt idx="151">
                  <c:v>41382</c:v>
                </c:pt>
                <c:pt idx="152">
                  <c:v>41383</c:v>
                </c:pt>
                <c:pt idx="153">
                  <c:v>41386</c:v>
                </c:pt>
                <c:pt idx="154">
                  <c:v>41387</c:v>
                </c:pt>
                <c:pt idx="155">
                  <c:v>41388</c:v>
                </c:pt>
                <c:pt idx="156">
                  <c:v>41389</c:v>
                </c:pt>
                <c:pt idx="157">
                  <c:v>41390</c:v>
                </c:pt>
                <c:pt idx="158">
                  <c:v>41393</c:v>
                </c:pt>
                <c:pt idx="159">
                  <c:v>41394</c:v>
                </c:pt>
                <c:pt idx="160">
                  <c:v>41395</c:v>
                </c:pt>
                <c:pt idx="161">
                  <c:v>41396</c:v>
                </c:pt>
                <c:pt idx="162">
                  <c:v>41397</c:v>
                </c:pt>
                <c:pt idx="163">
                  <c:v>41400</c:v>
                </c:pt>
                <c:pt idx="164">
                  <c:v>41401</c:v>
                </c:pt>
                <c:pt idx="165">
                  <c:v>41402</c:v>
                </c:pt>
                <c:pt idx="166">
                  <c:v>41403</c:v>
                </c:pt>
                <c:pt idx="167">
                  <c:v>41404</c:v>
                </c:pt>
                <c:pt idx="168">
                  <c:v>41407</c:v>
                </c:pt>
                <c:pt idx="169">
                  <c:v>41408</c:v>
                </c:pt>
                <c:pt idx="170">
                  <c:v>41409</c:v>
                </c:pt>
                <c:pt idx="171">
                  <c:v>41410</c:v>
                </c:pt>
                <c:pt idx="172">
                  <c:v>41411</c:v>
                </c:pt>
                <c:pt idx="173">
                  <c:v>41414</c:v>
                </c:pt>
                <c:pt idx="174">
                  <c:v>41415</c:v>
                </c:pt>
                <c:pt idx="175">
                  <c:v>41416</c:v>
                </c:pt>
                <c:pt idx="176">
                  <c:v>41417</c:v>
                </c:pt>
                <c:pt idx="177">
                  <c:v>41418</c:v>
                </c:pt>
                <c:pt idx="178">
                  <c:v>41421</c:v>
                </c:pt>
                <c:pt idx="179">
                  <c:v>41422</c:v>
                </c:pt>
                <c:pt idx="180">
                  <c:v>41423</c:v>
                </c:pt>
                <c:pt idx="181">
                  <c:v>41424</c:v>
                </c:pt>
                <c:pt idx="182">
                  <c:v>41425</c:v>
                </c:pt>
                <c:pt idx="183">
                  <c:v>41428</c:v>
                </c:pt>
                <c:pt idx="184">
                  <c:v>41429</c:v>
                </c:pt>
                <c:pt idx="185">
                  <c:v>41430</c:v>
                </c:pt>
                <c:pt idx="186">
                  <c:v>41431</c:v>
                </c:pt>
                <c:pt idx="187">
                  <c:v>41432</c:v>
                </c:pt>
                <c:pt idx="188">
                  <c:v>41435</c:v>
                </c:pt>
                <c:pt idx="189">
                  <c:v>41436</c:v>
                </c:pt>
                <c:pt idx="190">
                  <c:v>41437</c:v>
                </c:pt>
                <c:pt idx="191">
                  <c:v>41438</c:v>
                </c:pt>
                <c:pt idx="192">
                  <c:v>41439</c:v>
                </c:pt>
                <c:pt idx="193">
                  <c:v>41442</c:v>
                </c:pt>
                <c:pt idx="194">
                  <c:v>41443</c:v>
                </c:pt>
                <c:pt idx="195">
                  <c:v>41444</c:v>
                </c:pt>
                <c:pt idx="196">
                  <c:v>41445</c:v>
                </c:pt>
                <c:pt idx="197">
                  <c:v>41446</c:v>
                </c:pt>
                <c:pt idx="198">
                  <c:v>41449</c:v>
                </c:pt>
                <c:pt idx="199">
                  <c:v>41450</c:v>
                </c:pt>
                <c:pt idx="200">
                  <c:v>41451</c:v>
                </c:pt>
                <c:pt idx="201">
                  <c:v>41452</c:v>
                </c:pt>
                <c:pt idx="202">
                  <c:v>41453</c:v>
                </c:pt>
                <c:pt idx="203">
                  <c:v>41456</c:v>
                </c:pt>
                <c:pt idx="204">
                  <c:v>41457</c:v>
                </c:pt>
                <c:pt idx="205">
                  <c:v>41458</c:v>
                </c:pt>
                <c:pt idx="206">
                  <c:v>41459</c:v>
                </c:pt>
                <c:pt idx="207">
                  <c:v>41460</c:v>
                </c:pt>
                <c:pt idx="208">
                  <c:v>41463</c:v>
                </c:pt>
                <c:pt idx="209">
                  <c:v>41464</c:v>
                </c:pt>
                <c:pt idx="210">
                  <c:v>41465</c:v>
                </c:pt>
                <c:pt idx="211">
                  <c:v>41466</c:v>
                </c:pt>
                <c:pt idx="212">
                  <c:v>41467</c:v>
                </c:pt>
                <c:pt idx="213">
                  <c:v>41470</c:v>
                </c:pt>
                <c:pt idx="214">
                  <c:v>41471</c:v>
                </c:pt>
                <c:pt idx="215">
                  <c:v>41472</c:v>
                </c:pt>
                <c:pt idx="216">
                  <c:v>41473</c:v>
                </c:pt>
                <c:pt idx="217">
                  <c:v>41474</c:v>
                </c:pt>
                <c:pt idx="218">
                  <c:v>41477</c:v>
                </c:pt>
                <c:pt idx="219">
                  <c:v>41478</c:v>
                </c:pt>
                <c:pt idx="220">
                  <c:v>41479</c:v>
                </c:pt>
                <c:pt idx="221">
                  <c:v>41480</c:v>
                </c:pt>
                <c:pt idx="222">
                  <c:v>41481</c:v>
                </c:pt>
                <c:pt idx="223">
                  <c:v>41484</c:v>
                </c:pt>
                <c:pt idx="224">
                  <c:v>41485</c:v>
                </c:pt>
                <c:pt idx="225">
                  <c:v>41486</c:v>
                </c:pt>
                <c:pt idx="226">
                  <c:v>41487</c:v>
                </c:pt>
                <c:pt idx="227">
                  <c:v>41488</c:v>
                </c:pt>
                <c:pt idx="228">
                  <c:v>41491</c:v>
                </c:pt>
                <c:pt idx="229">
                  <c:v>41492</c:v>
                </c:pt>
                <c:pt idx="230">
                  <c:v>41493</c:v>
                </c:pt>
                <c:pt idx="231">
                  <c:v>41494</c:v>
                </c:pt>
                <c:pt idx="232">
                  <c:v>41495</c:v>
                </c:pt>
                <c:pt idx="233">
                  <c:v>41498</c:v>
                </c:pt>
                <c:pt idx="234">
                  <c:v>41499</c:v>
                </c:pt>
                <c:pt idx="235">
                  <c:v>41500</c:v>
                </c:pt>
                <c:pt idx="236">
                  <c:v>41501</c:v>
                </c:pt>
                <c:pt idx="237">
                  <c:v>41502</c:v>
                </c:pt>
                <c:pt idx="238">
                  <c:v>41505</c:v>
                </c:pt>
                <c:pt idx="239">
                  <c:v>41506</c:v>
                </c:pt>
                <c:pt idx="240">
                  <c:v>41507</c:v>
                </c:pt>
                <c:pt idx="241">
                  <c:v>41508</c:v>
                </c:pt>
                <c:pt idx="242">
                  <c:v>41509</c:v>
                </c:pt>
                <c:pt idx="243">
                  <c:v>41512</c:v>
                </c:pt>
                <c:pt idx="244">
                  <c:v>41513</c:v>
                </c:pt>
                <c:pt idx="245">
                  <c:v>41514</c:v>
                </c:pt>
                <c:pt idx="246">
                  <c:v>41515</c:v>
                </c:pt>
                <c:pt idx="247">
                  <c:v>41516</c:v>
                </c:pt>
                <c:pt idx="248">
                  <c:v>41519</c:v>
                </c:pt>
                <c:pt idx="249">
                  <c:v>41520</c:v>
                </c:pt>
                <c:pt idx="250">
                  <c:v>41521</c:v>
                </c:pt>
                <c:pt idx="251">
                  <c:v>41522</c:v>
                </c:pt>
                <c:pt idx="252">
                  <c:v>41523</c:v>
                </c:pt>
                <c:pt idx="253">
                  <c:v>41526</c:v>
                </c:pt>
                <c:pt idx="254">
                  <c:v>41527</c:v>
                </c:pt>
                <c:pt idx="255">
                  <c:v>41528</c:v>
                </c:pt>
                <c:pt idx="256">
                  <c:v>41529</c:v>
                </c:pt>
                <c:pt idx="257">
                  <c:v>41530</c:v>
                </c:pt>
                <c:pt idx="258">
                  <c:v>41533</c:v>
                </c:pt>
                <c:pt idx="259">
                  <c:v>41534</c:v>
                </c:pt>
                <c:pt idx="260">
                  <c:v>41535</c:v>
                </c:pt>
                <c:pt idx="261">
                  <c:v>41536</c:v>
                </c:pt>
                <c:pt idx="262">
                  <c:v>41537</c:v>
                </c:pt>
                <c:pt idx="263">
                  <c:v>41540</c:v>
                </c:pt>
                <c:pt idx="264">
                  <c:v>41541</c:v>
                </c:pt>
                <c:pt idx="265">
                  <c:v>41542</c:v>
                </c:pt>
                <c:pt idx="266">
                  <c:v>41543</c:v>
                </c:pt>
                <c:pt idx="267">
                  <c:v>41544</c:v>
                </c:pt>
                <c:pt idx="268">
                  <c:v>41547</c:v>
                </c:pt>
                <c:pt idx="269">
                  <c:v>41548</c:v>
                </c:pt>
                <c:pt idx="270">
                  <c:v>41549</c:v>
                </c:pt>
                <c:pt idx="271">
                  <c:v>41550</c:v>
                </c:pt>
                <c:pt idx="272">
                  <c:v>41551</c:v>
                </c:pt>
                <c:pt idx="273">
                  <c:v>41554</c:v>
                </c:pt>
                <c:pt idx="274">
                  <c:v>41555</c:v>
                </c:pt>
                <c:pt idx="275">
                  <c:v>41556</c:v>
                </c:pt>
                <c:pt idx="276">
                  <c:v>41557</c:v>
                </c:pt>
                <c:pt idx="277">
                  <c:v>41558</c:v>
                </c:pt>
                <c:pt idx="278">
                  <c:v>41561</c:v>
                </c:pt>
                <c:pt idx="279">
                  <c:v>41562</c:v>
                </c:pt>
                <c:pt idx="280">
                  <c:v>41563</c:v>
                </c:pt>
                <c:pt idx="281">
                  <c:v>41564</c:v>
                </c:pt>
                <c:pt idx="282">
                  <c:v>41565</c:v>
                </c:pt>
                <c:pt idx="283">
                  <c:v>41568</c:v>
                </c:pt>
                <c:pt idx="284">
                  <c:v>41569</c:v>
                </c:pt>
                <c:pt idx="285">
                  <c:v>41570</c:v>
                </c:pt>
                <c:pt idx="286">
                  <c:v>41571</c:v>
                </c:pt>
                <c:pt idx="287">
                  <c:v>41572</c:v>
                </c:pt>
                <c:pt idx="288">
                  <c:v>41575</c:v>
                </c:pt>
                <c:pt idx="289">
                  <c:v>41576</c:v>
                </c:pt>
                <c:pt idx="290">
                  <c:v>41577</c:v>
                </c:pt>
                <c:pt idx="291">
                  <c:v>41578</c:v>
                </c:pt>
                <c:pt idx="292">
                  <c:v>41579</c:v>
                </c:pt>
                <c:pt idx="293">
                  <c:v>41582</c:v>
                </c:pt>
                <c:pt idx="294">
                  <c:v>41583</c:v>
                </c:pt>
                <c:pt idx="295">
                  <c:v>41584</c:v>
                </c:pt>
                <c:pt idx="296">
                  <c:v>41585</c:v>
                </c:pt>
                <c:pt idx="297">
                  <c:v>41586</c:v>
                </c:pt>
                <c:pt idx="298">
                  <c:v>41589</c:v>
                </c:pt>
                <c:pt idx="299">
                  <c:v>41590</c:v>
                </c:pt>
                <c:pt idx="300">
                  <c:v>41591</c:v>
                </c:pt>
                <c:pt idx="301">
                  <c:v>41592</c:v>
                </c:pt>
                <c:pt idx="302">
                  <c:v>41593</c:v>
                </c:pt>
                <c:pt idx="303">
                  <c:v>41596</c:v>
                </c:pt>
                <c:pt idx="304">
                  <c:v>41597</c:v>
                </c:pt>
                <c:pt idx="305">
                  <c:v>41598</c:v>
                </c:pt>
                <c:pt idx="306">
                  <c:v>41599</c:v>
                </c:pt>
                <c:pt idx="307">
                  <c:v>41600</c:v>
                </c:pt>
                <c:pt idx="308">
                  <c:v>41603</c:v>
                </c:pt>
                <c:pt idx="309">
                  <c:v>41604</c:v>
                </c:pt>
                <c:pt idx="310">
                  <c:v>41605</c:v>
                </c:pt>
                <c:pt idx="311">
                  <c:v>41606</c:v>
                </c:pt>
                <c:pt idx="312">
                  <c:v>41607</c:v>
                </c:pt>
                <c:pt idx="313">
                  <c:v>41610</c:v>
                </c:pt>
                <c:pt idx="314">
                  <c:v>41611</c:v>
                </c:pt>
                <c:pt idx="315">
                  <c:v>41612</c:v>
                </c:pt>
                <c:pt idx="316">
                  <c:v>41613</c:v>
                </c:pt>
                <c:pt idx="317">
                  <c:v>41614</c:v>
                </c:pt>
                <c:pt idx="318">
                  <c:v>41617</c:v>
                </c:pt>
                <c:pt idx="319">
                  <c:v>41618</c:v>
                </c:pt>
                <c:pt idx="320">
                  <c:v>41619</c:v>
                </c:pt>
                <c:pt idx="321">
                  <c:v>41620</c:v>
                </c:pt>
                <c:pt idx="322">
                  <c:v>41621</c:v>
                </c:pt>
                <c:pt idx="323">
                  <c:v>41624</c:v>
                </c:pt>
                <c:pt idx="324">
                  <c:v>41625</c:v>
                </c:pt>
                <c:pt idx="325">
                  <c:v>41626</c:v>
                </c:pt>
                <c:pt idx="326">
                  <c:v>41627</c:v>
                </c:pt>
                <c:pt idx="327">
                  <c:v>41628</c:v>
                </c:pt>
                <c:pt idx="328">
                  <c:v>41631</c:v>
                </c:pt>
                <c:pt idx="329">
                  <c:v>41632</c:v>
                </c:pt>
                <c:pt idx="330">
                  <c:v>41635</c:v>
                </c:pt>
                <c:pt idx="331">
                  <c:v>41638</c:v>
                </c:pt>
                <c:pt idx="332">
                  <c:v>41639</c:v>
                </c:pt>
                <c:pt idx="333">
                  <c:v>41641</c:v>
                </c:pt>
                <c:pt idx="334">
                  <c:v>41642</c:v>
                </c:pt>
                <c:pt idx="335">
                  <c:v>41645</c:v>
                </c:pt>
                <c:pt idx="336">
                  <c:v>41646</c:v>
                </c:pt>
                <c:pt idx="337">
                  <c:v>41647</c:v>
                </c:pt>
                <c:pt idx="338">
                  <c:v>41648</c:v>
                </c:pt>
                <c:pt idx="339">
                  <c:v>41649</c:v>
                </c:pt>
                <c:pt idx="340">
                  <c:v>41652</c:v>
                </c:pt>
                <c:pt idx="341">
                  <c:v>41653</c:v>
                </c:pt>
                <c:pt idx="342">
                  <c:v>41654</c:v>
                </c:pt>
                <c:pt idx="343">
                  <c:v>41655</c:v>
                </c:pt>
                <c:pt idx="344">
                  <c:v>41656</c:v>
                </c:pt>
                <c:pt idx="345">
                  <c:v>41659</c:v>
                </c:pt>
                <c:pt idx="346">
                  <c:v>41660</c:v>
                </c:pt>
                <c:pt idx="347">
                  <c:v>41661</c:v>
                </c:pt>
                <c:pt idx="348">
                  <c:v>41662</c:v>
                </c:pt>
                <c:pt idx="349">
                  <c:v>41663</c:v>
                </c:pt>
                <c:pt idx="350">
                  <c:v>41666</c:v>
                </c:pt>
                <c:pt idx="351">
                  <c:v>41667</c:v>
                </c:pt>
                <c:pt idx="352">
                  <c:v>41668</c:v>
                </c:pt>
                <c:pt idx="353">
                  <c:v>41669</c:v>
                </c:pt>
                <c:pt idx="354">
                  <c:v>41670</c:v>
                </c:pt>
                <c:pt idx="355">
                  <c:v>41673</c:v>
                </c:pt>
                <c:pt idx="356">
                  <c:v>41674</c:v>
                </c:pt>
                <c:pt idx="357">
                  <c:v>41675</c:v>
                </c:pt>
                <c:pt idx="358">
                  <c:v>41676</c:v>
                </c:pt>
                <c:pt idx="359">
                  <c:v>41677</c:v>
                </c:pt>
                <c:pt idx="360">
                  <c:v>41680</c:v>
                </c:pt>
                <c:pt idx="361">
                  <c:v>41681</c:v>
                </c:pt>
                <c:pt idx="362">
                  <c:v>41682</c:v>
                </c:pt>
                <c:pt idx="363">
                  <c:v>41683</c:v>
                </c:pt>
                <c:pt idx="364">
                  <c:v>41684</c:v>
                </c:pt>
                <c:pt idx="365">
                  <c:v>41687</c:v>
                </c:pt>
                <c:pt idx="366">
                  <c:v>41688</c:v>
                </c:pt>
                <c:pt idx="367">
                  <c:v>41689</c:v>
                </c:pt>
                <c:pt idx="368">
                  <c:v>41690</c:v>
                </c:pt>
                <c:pt idx="369">
                  <c:v>41691</c:v>
                </c:pt>
                <c:pt idx="370">
                  <c:v>41694</c:v>
                </c:pt>
                <c:pt idx="371">
                  <c:v>41695</c:v>
                </c:pt>
                <c:pt idx="372">
                  <c:v>41696</c:v>
                </c:pt>
                <c:pt idx="373">
                  <c:v>41697</c:v>
                </c:pt>
                <c:pt idx="374">
                  <c:v>41698</c:v>
                </c:pt>
                <c:pt idx="375">
                  <c:v>41701</c:v>
                </c:pt>
                <c:pt idx="376">
                  <c:v>41702</c:v>
                </c:pt>
                <c:pt idx="377">
                  <c:v>41703</c:v>
                </c:pt>
                <c:pt idx="378">
                  <c:v>41704</c:v>
                </c:pt>
                <c:pt idx="379">
                  <c:v>41705</c:v>
                </c:pt>
                <c:pt idx="380">
                  <c:v>41708</c:v>
                </c:pt>
                <c:pt idx="381">
                  <c:v>41709</c:v>
                </c:pt>
                <c:pt idx="382">
                  <c:v>41710</c:v>
                </c:pt>
                <c:pt idx="383">
                  <c:v>41711</c:v>
                </c:pt>
                <c:pt idx="384">
                  <c:v>41712</c:v>
                </c:pt>
                <c:pt idx="385">
                  <c:v>41715</c:v>
                </c:pt>
                <c:pt idx="386">
                  <c:v>41716</c:v>
                </c:pt>
                <c:pt idx="387">
                  <c:v>41717</c:v>
                </c:pt>
                <c:pt idx="388">
                  <c:v>41718</c:v>
                </c:pt>
                <c:pt idx="389">
                  <c:v>41719</c:v>
                </c:pt>
                <c:pt idx="390">
                  <c:v>41722</c:v>
                </c:pt>
                <c:pt idx="391">
                  <c:v>41723</c:v>
                </c:pt>
                <c:pt idx="392">
                  <c:v>41724</c:v>
                </c:pt>
                <c:pt idx="393">
                  <c:v>41725</c:v>
                </c:pt>
                <c:pt idx="394">
                  <c:v>41726</c:v>
                </c:pt>
                <c:pt idx="395">
                  <c:v>41729</c:v>
                </c:pt>
                <c:pt idx="396">
                  <c:v>41730</c:v>
                </c:pt>
                <c:pt idx="397">
                  <c:v>41731</c:v>
                </c:pt>
                <c:pt idx="398">
                  <c:v>41732</c:v>
                </c:pt>
                <c:pt idx="399">
                  <c:v>41733</c:v>
                </c:pt>
                <c:pt idx="400">
                  <c:v>41736</c:v>
                </c:pt>
                <c:pt idx="401">
                  <c:v>41737</c:v>
                </c:pt>
                <c:pt idx="402">
                  <c:v>41738</c:v>
                </c:pt>
                <c:pt idx="403">
                  <c:v>41739</c:v>
                </c:pt>
                <c:pt idx="404">
                  <c:v>41740</c:v>
                </c:pt>
                <c:pt idx="405">
                  <c:v>41743</c:v>
                </c:pt>
                <c:pt idx="406">
                  <c:v>41744</c:v>
                </c:pt>
                <c:pt idx="407">
                  <c:v>41745</c:v>
                </c:pt>
                <c:pt idx="408">
                  <c:v>41746</c:v>
                </c:pt>
                <c:pt idx="409">
                  <c:v>41751</c:v>
                </c:pt>
                <c:pt idx="410">
                  <c:v>41752</c:v>
                </c:pt>
                <c:pt idx="411">
                  <c:v>41753</c:v>
                </c:pt>
                <c:pt idx="412">
                  <c:v>41754</c:v>
                </c:pt>
                <c:pt idx="413">
                  <c:v>41757</c:v>
                </c:pt>
                <c:pt idx="414">
                  <c:v>41758</c:v>
                </c:pt>
                <c:pt idx="415">
                  <c:v>41759</c:v>
                </c:pt>
                <c:pt idx="416">
                  <c:v>41760</c:v>
                </c:pt>
                <c:pt idx="417">
                  <c:v>41761</c:v>
                </c:pt>
                <c:pt idx="418">
                  <c:v>41764</c:v>
                </c:pt>
                <c:pt idx="419">
                  <c:v>41765</c:v>
                </c:pt>
                <c:pt idx="420">
                  <c:v>41766</c:v>
                </c:pt>
                <c:pt idx="421">
                  <c:v>41767</c:v>
                </c:pt>
                <c:pt idx="422">
                  <c:v>41768</c:v>
                </c:pt>
                <c:pt idx="423">
                  <c:v>41771</c:v>
                </c:pt>
                <c:pt idx="424">
                  <c:v>41772</c:v>
                </c:pt>
                <c:pt idx="425">
                  <c:v>41773</c:v>
                </c:pt>
                <c:pt idx="426">
                  <c:v>41774</c:v>
                </c:pt>
                <c:pt idx="427">
                  <c:v>41775</c:v>
                </c:pt>
                <c:pt idx="428">
                  <c:v>41778</c:v>
                </c:pt>
                <c:pt idx="429">
                  <c:v>41779</c:v>
                </c:pt>
                <c:pt idx="430">
                  <c:v>41780</c:v>
                </c:pt>
                <c:pt idx="431">
                  <c:v>41781</c:v>
                </c:pt>
                <c:pt idx="432">
                  <c:v>41782</c:v>
                </c:pt>
                <c:pt idx="433">
                  <c:v>41785</c:v>
                </c:pt>
                <c:pt idx="434">
                  <c:v>41786</c:v>
                </c:pt>
                <c:pt idx="435">
                  <c:v>41787</c:v>
                </c:pt>
                <c:pt idx="436">
                  <c:v>41788</c:v>
                </c:pt>
                <c:pt idx="437">
                  <c:v>41789</c:v>
                </c:pt>
                <c:pt idx="438">
                  <c:v>41792</c:v>
                </c:pt>
                <c:pt idx="439">
                  <c:v>41793</c:v>
                </c:pt>
                <c:pt idx="440">
                  <c:v>41794</c:v>
                </c:pt>
                <c:pt idx="441">
                  <c:v>41795</c:v>
                </c:pt>
                <c:pt idx="442">
                  <c:v>41796</c:v>
                </c:pt>
                <c:pt idx="443">
                  <c:v>41799</c:v>
                </c:pt>
                <c:pt idx="444">
                  <c:v>41800</c:v>
                </c:pt>
                <c:pt idx="445">
                  <c:v>41801</c:v>
                </c:pt>
                <c:pt idx="446">
                  <c:v>41802</c:v>
                </c:pt>
                <c:pt idx="447">
                  <c:v>41803</c:v>
                </c:pt>
                <c:pt idx="448">
                  <c:v>41806</c:v>
                </c:pt>
                <c:pt idx="449">
                  <c:v>41807</c:v>
                </c:pt>
                <c:pt idx="450">
                  <c:v>41808</c:v>
                </c:pt>
                <c:pt idx="451">
                  <c:v>41809</c:v>
                </c:pt>
                <c:pt idx="452">
                  <c:v>41810</c:v>
                </c:pt>
                <c:pt idx="453">
                  <c:v>41813</c:v>
                </c:pt>
                <c:pt idx="454">
                  <c:v>41814</c:v>
                </c:pt>
                <c:pt idx="455">
                  <c:v>41815</c:v>
                </c:pt>
                <c:pt idx="456">
                  <c:v>41816</c:v>
                </c:pt>
                <c:pt idx="457">
                  <c:v>41817</c:v>
                </c:pt>
                <c:pt idx="458">
                  <c:v>41820</c:v>
                </c:pt>
                <c:pt idx="459">
                  <c:v>41821</c:v>
                </c:pt>
                <c:pt idx="460">
                  <c:v>41822</c:v>
                </c:pt>
                <c:pt idx="461">
                  <c:v>41823</c:v>
                </c:pt>
                <c:pt idx="462">
                  <c:v>41824</c:v>
                </c:pt>
                <c:pt idx="463">
                  <c:v>41827</c:v>
                </c:pt>
                <c:pt idx="464">
                  <c:v>41828</c:v>
                </c:pt>
                <c:pt idx="465">
                  <c:v>41829</c:v>
                </c:pt>
                <c:pt idx="466">
                  <c:v>41830</c:v>
                </c:pt>
                <c:pt idx="467">
                  <c:v>41831</c:v>
                </c:pt>
                <c:pt idx="468">
                  <c:v>41834</c:v>
                </c:pt>
                <c:pt idx="469">
                  <c:v>41835</c:v>
                </c:pt>
                <c:pt idx="470">
                  <c:v>41836</c:v>
                </c:pt>
                <c:pt idx="471">
                  <c:v>41837</c:v>
                </c:pt>
                <c:pt idx="472">
                  <c:v>41838</c:v>
                </c:pt>
                <c:pt idx="473">
                  <c:v>41841</c:v>
                </c:pt>
                <c:pt idx="474">
                  <c:v>41842</c:v>
                </c:pt>
                <c:pt idx="475">
                  <c:v>41843</c:v>
                </c:pt>
                <c:pt idx="476">
                  <c:v>41844</c:v>
                </c:pt>
                <c:pt idx="477">
                  <c:v>41845</c:v>
                </c:pt>
                <c:pt idx="478">
                  <c:v>41848</c:v>
                </c:pt>
                <c:pt idx="479">
                  <c:v>41849</c:v>
                </c:pt>
                <c:pt idx="480">
                  <c:v>41850</c:v>
                </c:pt>
                <c:pt idx="481">
                  <c:v>41851</c:v>
                </c:pt>
                <c:pt idx="482">
                  <c:v>41852</c:v>
                </c:pt>
                <c:pt idx="483">
                  <c:v>41855</c:v>
                </c:pt>
                <c:pt idx="484">
                  <c:v>41856</c:v>
                </c:pt>
                <c:pt idx="485">
                  <c:v>41857</c:v>
                </c:pt>
                <c:pt idx="486">
                  <c:v>41858</c:v>
                </c:pt>
                <c:pt idx="487">
                  <c:v>41859</c:v>
                </c:pt>
                <c:pt idx="488">
                  <c:v>41862</c:v>
                </c:pt>
                <c:pt idx="489">
                  <c:v>41863</c:v>
                </c:pt>
                <c:pt idx="490">
                  <c:v>41864</c:v>
                </c:pt>
                <c:pt idx="491">
                  <c:v>41865</c:v>
                </c:pt>
                <c:pt idx="492">
                  <c:v>41866</c:v>
                </c:pt>
                <c:pt idx="493">
                  <c:v>41869</c:v>
                </c:pt>
                <c:pt idx="494">
                  <c:v>41870</c:v>
                </c:pt>
                <c:pt idx="495">
                  <c:v>41871</c:v>
                </c:pt>
                <c:pt idx="496">
                  <c:v>41872</c:v>
                </c:pt>
                <c:pt idx="497">
                  <c:v>41873</c:v>
                </c:pt>
                <c:pt idx="498">
                  <c:v>41876</c:v>
                </c:pt>
                <c:pt idx="499">
                  <c:v>41877</c:v>
                </c:pt>
                <c:pt idx="500">
                  <c:v>41878</c:v>
                </c:pt>
                <c:pt idx="501">
                  <c:v>41879</c:v>
                </c:pt>
                <c:pt idx="502">
                  <c:v>41880</c:v>
                </c:pt>
                <c:pt idx="503">
                  <c:v>41883</c:v>
                </c:pt>
                <c:pt idx="504">
                  <c:v>41884</c:v>
                </c:pt>
                <c:pt idx="505">
                  <c:v>41885</c:v>
                </c:pt>
                <c:pt idx="506">
                  <c:v>41886</c:v>
                </c:pt>
                <c:pt idx="507">
                  <c:v>41887</c:v>
                </c:pt>
                <c:pt idx="508">
                  <c:v>41890</c:v>
                </c:pt>
                <c:pt idx="509">
                  <c:v>41891</c:v>
                </c:pt>
                <c:pt idx="510">
                  <c:v>41892</c:v>
                </c:pt>
                <c:pt idx="511">
                  <c:v>41893</c:v>
                </c:pt>
                <c:pt idx="512">
                  <c:v>41894</c:v>
                </c:pt>
                <c:pt idx="513">
                  <c:v>41897</c:v>
                </c:pt>
                <c:pt idx="514">
                  <c:v>41898</c:v>
                </c:pt>
                <c:pt idx="515">
                  <c:v>41899</c:v>
                </c:pt>
                <c:pt idx="516">
                  <c:v>41900</c:v>
                </c:pt>
                <c:pt idx="517">
                  <c:v>41901</c:v>
                </c:pt>
                <c:pt idx="518">
                  <c:v>41904</c:v>
                </c:pt>
                <c:pt idx="519">
                  <c:v>41905</c:v>
                </c:pt>
                <c:pt idx="520">
                  <c:v>41906</c:v>
                </c:pt>
                <c:pt idx="521">
                  <c:v>41907</c:v>
                </c:pt>
                <c:pt idx="522">
                  <c:v>41908</c:v>
                </c:pt>
                <c:pt idx="523">
                  <c:v>41911</c:v>
                </c:pt>
                <c:pt idx="524">
                  <c:v>41912</c:v>
                </c:pt>
                <c:pt idx="525">
                  <c:v>41913</c:v>
                </c:pt>
                <c:pt idx="526">
                  <c:v>41914</c:v>
                </c:pt>
                <c:pt idx="527">
                  <c:v>41915</c:v>
                </c:pt>
                <c:pt idx="528">
                  <c:v>41918</c:v>
                </c:pt>
                <c:pt idx="529">
                  <c:v>41919</c:v>
                </c:pt>
                <c:pt idx="530">
                  <c:v>41920</c:v>
                </c:pt>
                <c:pt idx="531">
                  <c:v>41921</c:v>
                </c:pt>
                <c:pt idx="532">
                  <c:v>41922</c:v>
                </c:pt>
                <c:pt idx="533">
                  <c:v>41925</c:v>
                </c:pt>
                <c:pt idx="534">
                  <c:v>41926</c:v>
                </c:pt>
                <c:pt idx="535">
                  <c:v>41927</c:v>
                </c:pt>
                <c:pt idx="536">
                  <c:v>41928</c:v>
                </c:pt>
                <c:pt idx="537">
                  <c:v>41929</c:v>
                </c:pt>
                <c:pt idx="538">
                  <c:v>41932</c:v>
                </c:pt>
                <c:pt idx="539">
                  <c:v>41933</c:v>
                </c:pt>
                <c:pt idx="540">
                  <c:v>41934</c:v>
                </c:pt>
                <c:pt idx="541">
                  <c:v>41935</c:v>
                </c:pt>
                <c:pt idx="542">
                  <c:v>41936</c:v>
                </c:pt>
                <c:pt idx="543">
                  <c:v>41939</c:v>
                </c:pt>
                <c:pt idx="544">
                  <c:v>41940</c:v>
                </c:pt>
                <c:pt idx="545">
                  <c:v>41941</c:v>
                </c:pt>
                <c:pt idx="546">
                  <c:v>41942</c:v>
                </c:pt>
                <c:pt idx="547">
                  <c:v>41943</c:v>
                </c:pt>
                <c:pt idx="548">
                  <c:v>41946</c:v>
                </c:pt>
                <c:pt idx="549">
                  <c:v>41947</c:v>
                </c:pt>
                <c:pt idx="550">
                  <c:v>41948</c:v>
                </c:pt>
                <c:pt idx="551">
                  <c:v>41949</c:v>
                </c:pt>
                <c:pt idx="552">
                  <c:v>41950</c:v>
                </c:pt>
                <c:pt idx="553">
                  <c:v>41953</c:v>
                </c:pt>
                <c:pt idx="554">
                  <c:v>41954</c:v>
                </c:pt>
                <c:pt idx="555">
                  <c:v>41955</c:v>
                </c:pt>
                <c:pt idx="556">
                  <c:v>41956</c:v>
                </c:pt>
                <c:pt idx="557">
                  <c:v>41957</c:v>
                </c:pt>
                <c:pt idx="558">
                  <c:v>41960</c:v>
                </c:pt>
              </c:numCache>
            </c:numRef>
          </c:cat>
          <c:val>
            <c:numRef>
              <c:f>Sheet1!$B$2:$B$560</c:f>
              <c:numCache>
                <c:formatCode>General</c:formatCode>
                <c:ptCount val="559"/>
                <c:pt idx="0">
                  <c:v>100</c:v>
                </c:pt>
                <c:pt idx="1">
                  <c:v>99.588075880758808</c:v>
                </c:pt>
                <c:pt idx="2">
                  <c:v>102.67750677506773</c:v>
                </c:pt>
                <c:pt idx="3">
                  <c:v>102.26558265582655</c:v>
                </c:pt>
                <c:pt idx="4">
                  <c:v>100.72628726287263</c:v>
                </c:pt>
                <c:pt idx="5">
                  <c:v>100.95392953929539</c:v>
                </c:pt>
                <c:pt idx="6">
                  <c:v>99.804878048780481</c:v>
                </c:pt>
                <c:pt idx="7">
                  <c:v>100.88888888888887</c:v>
                </c:pt>
                <c:pt idx="8">
                  <c:v>100.86720867208669</c:v>
                </c:pt>
                <c:pt idx="9">
                  <c:v>100.84552845528454</c:v>
                </c:pt>
                <c:pt idx="10">
                  <c:v>98.861788617886177</c:v>
                </c:pt>
                <c:pt idx="11">
                  <c:v>99.501355013550139</c:v>
                </c:pt>
                <c:pt idx="12">
                  <c:v>98.460704607046083</c:v>
                </c:pt>
                <c:pt idx="13">
                  <c:v>98.861788617886177</c:v>
                </c:pt>
                <c:pt idx="14">
                  <c:v>98.850948509485079</c:v>
                </c:pt>
                <c:pt idx="15">
                  <c:v>98.005420054200528</c:v>
                </c:pt>
                <c:pt idx="16">
                  <c:v>98.623306233062337</c:v>
                </c:pt>
                <c:pt idx="17">
                  <c:v>99.241192411924118</c:v>
                </c:pt>
                <c:pt idx="18">
                  <c:v>98.720867208672075</c:v>
                </c:pt>
                <c:pt idx="19">
                  <c:v>97.463414634146346</c:v>
                </c:pt>
                <c:pt idx="20">
                  <c:v>96.444444444444443</c:v>
                </c:pt>
                <c:pt idx="21">
                  <c:v>96.878048780487802</c:v>
                </c:pt>
                <c:pt idx="22">
                  <c:v>97.018970189701875</c:v>
                </c:pt>
                <c:pt idx="23">
                  <c:v>97.084010840108391</c:v>
                </c:pt>
                <c:pt idx="24">
                  <c:v>98.590785907859086</c:v>
                </c:pt>
                <c:pt idx="25">
                  <c:v>100.04336043360433</c:v>
                </c:pt>
                <c:pt idx="26">
                  <c:v>100.61788617886178</c:v>
                </c:pt>
                <c:pt idx="27">
                  <c:v>100.11924119241191</c:v>
                </c:pt>
                <c:pt idx="28">
                  <c:v>99.566395663956627</c:v>
                </c:pt>
                <c:pt idx="29">
                  <c:v>97.71273712737127</c:v>
                </c:pt>
                <c:pt idx="30">
                  <c:v>97.571815718157183</c:v>
                </c:pt>
                <c:pt idx="31">
                  <c:v>97.994579945799444</c:v>
                </c:pt>
                <c:pt idx="32">
                  <c:v>97.604336043360433</c:v>
                </c:pt>
                <c:pt idx="33">
                  <c:v>97.018970189701875</c:v>
                </c:pt>
                <c:pt idx="34">
                  <c:v>97.582655826558252</c:v>
                </c:pt>
                <c:pt idx="35">
                  <c:v>97.430894308943081</c:v>
                </c:pt>
                <c:pt idx="36">
                  <c:v>98.373983739837385</c:v>
                </c:pt>
                <c:pt idx="37">
                  <c:v>98.243902439024396</c:v>
                </c:pt>
                <c:pt idx="38">
                  <c:v>97.430894308943081</c:v>
                </c:pt>
                <c:pt idx="39">
                  <c:v>97.777777777777771</c:v>
                </c:pt>
                <c:pt idx="40">
                  <c:v>97.972899728997277</c:v>
                </c:pt>
                <c:pt idx="41">
                  <c:v>97.138211382113823</c:v>
                </c:pt>
                <c:pt idx="42">
                  <c:v>96.82384823848237</c:v>
                </c:pt>
                <c:pt idx="43">
                  <c:v>96.498644986449861</c:v>
                </c:pt>
                <c:pt idx="44">
                  <c:v>96.487804878048777</c:v>
                </c:pt>
                <c:pt idx="45">
                  <c:v>95.718157181571797</c:v>
                </c:pt>
                <c:pt idx="46">
                  <c:v>96</c:v>
                </c:pt>
                <c:pt idx="47">
                  <c:v>96</c:v>
                </c:pt>
                <c:pt idx="48">
                  <c:v>97.842818428184273</c:v>
                </c:pt>
                <c:pt idx="49">
                  <c:v>97.246612466124631</c:v>
                </c:pt>
                <c:pt idx="50">
                  <c:v>97.723577235772353</c:v>
                </c:pt>
                <c:pt idx="51">
                  <c:v>98.76422764227641</c:v>
                </c:pt>
                <c:pt idx="52">
                  <c:v>99.696476964769644</c:v>
                </c:pt>
                <c:pt idx="53">
                  <c:v>100.19512195121951</c:v>
                </c:pt>
                <c:pt idx="54">
                  <c:v>99.891598915989164</c:v>
                </c:pt>
                <c:pt idx="55">
                  <c:v>99.284552845528438</c:v>
                </c:pt>
                <c:pt idx="56">
                  <c:v>100.58536585365854</c:v>
                </c:pt>
                <c:pt idx="57">
                  <c:v>100.72628726287263</c:v>
                </c:pt>
                <c:pt idx="58">
                  <c:v>100.56368563685636</c:v>
                </c:pt>
                <c:pt idx="59">
                  <c:v>100.74796747967478</c:v>
                </c:pt>
                <c:pt idx="60">
                  <c:v>100.46612466124662</c:v>
                </c:pt>
                <c:pt idx="61">
                  <c:v>100.19512195121951</c:v>
                </c:pt>
                <c:pt idx="62">
                  <c:v>100.62872628726286</c:v>
                </c:pt>
                <c:pt idx="63">
                  <c:v>100.5962059620596</c:v>
                </c:pt>
                <c:pt idx="64">
                  <c:v>100.66124661246612</c:v>
                </c:pt>
                <c:pt idx="65">
                  <c:v>101.09485094850947</c:v>
                </c:pt>
                <c:pt idx="66">
                  <c:v>100.97560975609755</c:v>
                </c:pt>
                <c:pt idx="67">
                  <c:v>101.28997289972901</c:v>
                </c:pt>
                <c:pt idx="68">
                  <c:v>102.50406504065039</c:v>
                </c:pt>
                <c:pt idx="69">
                  <c:v>103.08943089430893</c:v>
                </c:pt>
                <c:pt idx="70">
                  <c:v>104.67208672086721</c:v>
                </c:pt>
                <c:pt idx="71">
                  <c:v>104.96476964769646</c:v>
                </c:pt>
                <c:pt idx="72">
                  <c:v>104.80216802168023</c:v>
                </c:pt>
                <c:pt idx="73">
                  <c:v>104.46612466124661</c:v>
                </c:pt>
                <c:pt idx="74">
                  <c:v>104.65040650406505</c:v>
                </c:pt>
                <c:pt idx="75">
                  <c:v>104.66124661246612</c:v>
                </c:pt>
                <c:pt idx="76">
                  <c:v>104.53116531165311</c:v>
                </c:pt>
                <c:pt idx="77">
                  <c:v>107.10027100271</c:v>
                </c:pt>
                <c:pt idx="78">
                  <c:v>107.31707317073169</c:v>
                </c:pt>
                <c:pt idx="79">
                  <c:v>106.840108401084</c:v>
                </c:pt>
                <c:pt idx="80">
                  <c:v>107.10027100271</c:v>
                </c:pt>
                <c:pt idx="81">
                  <c:v>106.62330623306231</c:v>
                </c:pt>
                <c:pt idx="82">
                  <c:v>107.41463414634147</c:v>
                </c:pt>
                <c:pt idx="83">
                  <c:v>108.40108401084012</c:v>
                </c:pt>
                <c:pt idx="84">
                  <c:v>108.66124661246613</c:v>
                </c:pt>
                <c:pt idx="85">
                  <c:v>109.15989159891598</c:v>
                </c:pt>
                <c:pt idx="86">
                  <c:v>109.22493224932251</c:v>
                </c:pt>
                <c:pt idx="87">
                  <c:v>109.21409214092139</c:v>
                </c:pt>
                <c:pt idx="88">
                  <c:v>109.82113821138213</c:v>
                </c:pt>
                <c:pt idx="89">
                  <c:v>109.47425474254742</c:v>
                </c:pt>
                <c:pt idx="90">
                  <c:v>109.6151761517615</c:v>
                </c:pt>
                <c:pt idx="91">
                  <c:v>109.71273712737127</c:v>
                </c:pt>
                <c:pt idx="92">
                  <c:v>109.70189701897017</c:v>
                </c:pt>
                <c:pt idx="93">
                  <c:v>109.81029810298102</c:v>
                </c:pt>
                <c:pt idx="94">
                  <c:v>110.52574525745256</c:v>
                </c:pt>
                <c:pt idx="95">
                  <c:v>110.0921409214092</c:v>
                </c:pt>
                <c:pt idx="96">
                  <c:v>110.91598915989158</c:v>
                </c:pt>
                <c:pt idx="97">
                  <c:v>111.03523035230354</c:v>
                </c:pt>
                <c:pt idx="98">
                  <c:v>110.64498644986446</c:v>
                </c:pt>
                <c:pt idx="99">
                  <c:v>110.80758807588076</c:v>
                </c:pt>
                <c:pt idx="100">
                  <c:v>109.5392953929539</c:v>
                </c:pt>
                <c:pt idx="101">
                  <c:v>109.84281842818429</c:v>
                </c:pt>
                <c:pt idx="102">
                  <c:v>109.92953929539293</c:v>
                </c:pt>
                <c:pt idx="103">
                  <c:v>109.06233062330621</c:v>
                </c:pt>
                <c:pt idx="104">
                  <c:v>109.58265582655824</c:v>
                </c:pt>
                <c:pt idx="105">
                  <c:v>108.96476964769649</c:v>
                </c:pt>
                <c:pt idx="106">
                  <c:v>110.17886178861789</c:v>
                </c:pt>
                <c:pt idx="107">
                  <c:v>111.20867208672085</c:v>
                </c:pt>
                <c:pt idx="108">
                  <c:v>111.13279132791327</c:v>
                </c:pt>
                <c:pt idx="109">
                  <c:v>110.68834688346882</c:v>
                </c:pt>
                <c:pt idx="110">
                  <c:v>111.2628726287263</c:v>
                </c:pt>
                <c:pt idx="111">
                  <c:v>112.44444444444443</c:v>
                </c:pt>
                <c:pt idx="112">
                  <c:v>111.91327913279132</c:v>
                </c:pt>
                <c:pt idx="113">
                  <c:v>109.75609756097562</c:v>
                </c:pt>
                <c:pt idx="114">
                  <c:v>110.81842818428183</c:v>
                </c:pt>
                <c:pt idx="115">
                  <c:v>111.1761517615176</c:v>
                </c:pt>
                <c:pt idx="116">
                  <c:v>109.22493224932251</c:v>
                </c:pt>
                <c:pt idx="117">
                  <c:v>110.54742547425475</c:v>
                </c:pt>
                <c:pt idx="118">
                  <c:v>111.79403794037938</c:v>
                </c:pt>
                <c:pt idx="119">
                  <c:v>110.71002710027101</c:v>
                </c:pt>
                <c:pt idx="120">
                  <c:v>110.42818428184282</c:v>
                </c:pt>
                <c:pt idx="121">
                  <c:v>112.09756097560977</c:v>
                </c:pt>
                <c:pt idx="122">
                  <c:v>112.17344173441734</c:v>
                </c:pt>
                <c:pt idx="123">
                  <c:v>112.5311653116531</c:v>
                </c:pt>
                <c:pt idx="124">
                  <c:v>112.36856368563683</c:v>
                </c:pt>
                <c:pt idx="125">
                  <c:v>112.83468834688347</c:v>
                </c:pt>
                <c:pt idx="126">
                  <c:v>112.94308943089429</c:v>
                </c:pt>
                <c:pt idx="127">
                  <c:v>112.40108401084012</c:v>
                </c:pt>
                <c:pt idx="128">
                  <c:v>113.01897018970189</c:v>
                </c:pt>
                <c:pt idx="129">
                  <c:v>114.03794037940378</c:v>
                </c:pt>
                <c:pt idx="130">
                  <c:v>112.6178861788618</c:v>
                </c:pt>
                <c:pt idx="131">
                  <c:v>111.52303523035229</c:v>
                </c:pt>
                <c:pt idx="132">
                  <c:v>112.86720867208673</c:v>
                </c:pt>
                <c:pt idx="133">
                  <c:v>112.27100271002708</c:v>
                </c:pt>
                <c:pt idx="134">
                  <c:v>112.96476964769646</c:v>
                </c:pt>
                <c:pt idx="135">
                  <c:v>111.56639566395665</c:v>
                </c:pt>
                <c:pt idx="136">
                  <c:v>110.71002710027101</c:v>
                </c:pt>
                <c:pt idx="137">
                  <c:v>108.79132791327912</c:v>
                </c:pt>
                <c:pt idx="138">
                  <c:v>109.68021680216805</c:v>
                </c:pt>
                <c:pt idx="139">
                  <c:v>111.15447154471545</c:v>
                </c:pt>
                <c:pt idx="140">
                  <c:v>109.91869918699186</c:v>
                </c:pt>
                <c:pt idx="141">
                  <c:v>109.58265582655824</c:v>
                </c:pt>
                <c:pt idx="142">
                  <c:v>109.78861788617887</c:v>
                </c:pt>
                <c:pt idx="143">
                  <c:v>109.5392953929539</c:v>
                </c:pt>
                <c:pt idx="144">
                  <c:v>110.80758807588076</c:v>
                </c:pt>
                <c:pt idx="145">
                  <c:v>113.550135501355</c:v>
                </c:pt>
                <c:pt idx="146">
                  <c:v>114.86178861788616</c:v>
                </c:pt>
                <c:pt idx="147">
                  <c:v>114.15718157181571</c:v>
                </c:pt>
                <c:pt idx="148">
                  <c:v>113.43089430894308</c:v>
                </c:pt>
                <c:pt idx="149">
                  <c:v>112.47696476964771</c:v>
                </c:pt>
                <c:pt idx="150">
                  <c:v>110.10298102981031</c:v>
                </c:pt>
                <c:pt idx="151">
                  <c:v>109.71273712737127</c:v>
                </c:pt>
                <c:pt idx="152">
                  <c:v>110.04878048780486</c:v>
                </c:pt>
                <c:pt idx="153">
                  <c:v>110.56910569105692</c:v>
                </c:pt>
                <c:pt idx="154">
                  <c:v>112.89972899728997</c:v>
                </c:pt>
                <c:pt idx="155">
                  <c:v>113.91869918699187</c:v>
                </c:pt>
                <c:pt idx="156">
                  <c:v>115.25203252032519</c:v>
                </c:pt>
                <c:pt idx="157">
                  <c:v>115.10027100271003</c:v>
                </c:pt>
                <c:pt idx="158">
                  <c:v>116.68292682926828</c:v>
                </c:pt>
                <c:pt idx="159">
                  <c:v>117.59349593495934</c:v>
                </c:pt>
                <c:pt idx="160">
                  <c:v>117.82113821138212</c:v>
                </c:pt>
                <c:pt idx="161">
                  <c:v>116.5420054200542</c:v>
                </c:pt>
                <c:pt idx="162">
                  <c:v>118.82926829268293</c:v>
                </c:pt>
                <c:pt idx="163">
                  <c:v>118.3089430894309</c:v>
                </c:pt>
                <c:pt idx="164">
                  <c:v>118.9810298102981</c:v>
                </c:pt>
                <c:pt idx="165">
                  <c:v>120.52032520325204</c:v>
                </c:pt>
                <c:pt idx="166">
                  <c:v>119.67479674796748</c:v>
                </c:pt>
                <c:pt idx="167">
                  <c:v>119.03523035230353</c:v>
                </c:pt>
                <c:pt idx="168">
                  <c:v>119.00271002710028</c:v>
                </c:pt>
                <c:pt idx="169">
                  <c:v>118.78590785907859</c:v>
                </c:pt>
                <c:pt idx="170">
                  <c:v>118.3631436314363</c:v>
                </c:pt>
                <c:pt idx="171">
                  <c:v>118.68834688346881</c:v>
                </c:pt>
                <c:pt idx="172">
                  <c:v>117.92953929539294</c:v>
                </c:pt>
                <c:pt idx="173">
                  <c:v>118.64498644986448</c:v>
                </c:pt>
                <c:pt idx="174">
                  <c:v>118.80758807588074</c:v>
                </c:pt>
                <c:pt idx="175">
                  <c:v>119.34959349593497</c:v>
                </c:pt>
                <c:pt idx="176">
                  <c:v>117.09485094850949</c:v>
                </c:pt>
                <c:pt idx="177">
                  <c:v>117.32249322493222</c:v>
                </c:pt>
                <c:pt idx="178">
                  <c:v>118.03794037940378</c:v>
                </c:pt>
                <c:pt idx="179">
                  <c:v>118.34146341463412</c:v>
                </c:pt>
                <c:pt idx="180">
                  <c:v>117.51761517615176</c:v>
                </c:pt>
                <c:pt idx="181">
                  <c:v>118.5691056910569</c:v>
                </c:pt>
                <c:pt idx="182">
                  <c:v>116.13008130081299</c:v>
                </c:pt>
                <c:pt idx="183">
                  <c:v>115.53387533875336</c:v>
                </c:pt>
                <c:pt idx="184">
                  <c:v>116.18428184281842</c:v>
                </c:pt>
                <c:pt idx="185">
                  <c:v>114.14634146341463</c:v>
                </c:pt>
                <c:pt idx="186">
                  <c:v>114.1680216802168</c:v>
                </c:pt>
                <c:pt idx="187">
                  <c:v>116.11924119241192</c:v>
                </c:pt>
                <c:pt idx="188">
                  <c:v>115.55555555555553</c:v>
                </c:pt>
                <c:pt idx="189">
                  <c:v>114.65582655826559</c:v>
                </c:pt>
                <c:pt idx="190">
                  <c:v>115.20867208672085</c:v>
                </c:pt>
                <c:pt idx="191">
                  <c:v>115.08943089430892</c:v>
                </c:pt>
                <c:pt idx="192">
                  <c:v>115.90243902439023</c:v>
                </c:pt>
                <c:pt idx="193">
                  <c:v>117.15989159891598</c:v>
                </c:pt>
                <c:pt idx="194">
                  <c:v>117.78861788617886</c:v>
                </c:pt>
                <c:pt idx="195">
                  <c:v>117.01897018970189</c:v>
                </c:pt>
                <c:pt idx="196">
                  <c:v>111.44715447154472</c:v>
                </c:pt>
                <c:pt idx="197">
                  <c:v>109.58265582655824</c:v>
                </c:pt>
                <c:pt idx="198">
                  <c:v>107.98915989159892</c:v>
                </c:pt>
                <c:pt idx="199">
                  <c:v>107.96747967479673</c:v>
                </c:pt>
                <c:pt idx="200">
                  <c:v>109.91869918699186</c:v>
                </c:pt>
                <c:pt idx="201">
                  <c:v>110.59078590785909</c:v>
                </c:pt>
                <c:pt idx="202">
                  <c:v>109.5392953929539</c:v>
                </c:pt>
                <c:pt idx="203">
                  <c:v>110.39566395663955</c:v>
                </c:pt>
                <c:pt idx="204">
                  <c:v>111.2628726287263</c:v>
                </c:pt>
                <c:pt idx="205">
                  <c:v>109.09485094850946</c:v>
                </c:pt>
                <c:pt idx="206">
                  <c:v>111.11111111111111</c:v>
                </c:pt>
                <c:pt idx="207">
                  <c:v>110.05962059620597</c:v>
                </c:pt>
                <c:pt idx="208">
                  <c:v>111.33875338753387</c:v>
                </c:pt>
                <c:pt idx="209">
                  <c:v>112.11924119241195</c:v>
                </c:pt>
                <c:pt idx="210">
                  <c:v>112.84552845528455</c:v>
                </c:pt>
                <c:pt idx="211">
                  <c:v>113.77777777777776</c:v>
                </c:pt>
                <c:pt idx="212">
                  <c:v>112.33604336043359</c:v>
                </c:pt>
                <c:pt idx="213">
                  <c:v>112.72628726287262</c:v>
                </c:pt>
                <c:pt idx="214">
                  <c:v>113.91869918699187</c:v>
                </c:pt>
                <c:pt idx="215">
                  <c:v>113.64769647696478</c:v>
                </c:pt>
                <c:pt idx="216">
                  <c:v>114.21138211382116</c:v>
                </c:pt>
                <c:pt idx="217">
                  <c:v>114.79674796747967</c:v>
                </c:pt>
                <c:pt idx="218">
                  <c:v>115.25203252032519</c:v>
                </c:pt>
                <c:pt idx="219">
                  <c:v>115.76151761517615</c:v>
                </c:pt>
                <c:pt idx="220">
                  <c:v>116.60704607046068</c:v>
                </c:pt>
                <c:pt idx="221">
                  <c:v>116.24932249322492</c:v>
                </c:pt>
                <c:pt idx="222">
                  <c:v>116.76964769647698</c:v>
                </c:pt>
                <c:pt idx="223">
                  <c:v>116.49864498644986</c:v>
                </c:pt>
                <c:pt idx="224">
                  <c:v>116.24932249322492</c:v>
                </c:pt>
                <c:pt idx="225">
                  <c:v>115.63143631436314</c:v>
                </c:pt>
                <c:pt idx="226">
                  <c:v>115.88075880758805</c:v>
                </c:pt>
                <c:pt idx="227">
                  <c:v>116.93224932249325</c:v>
                </c:pt>
                <c:pt idx="228">
                  <c:v>116.68292682926828</c:v>
                </c:pt>
                <c:pt idx="229">
                  <c:v>117.11653116531167</c:v>
                </c:pt>
                <c:pt idx="230">
                  <c:v>116.58536585365853</c:v>
                </c:pt>
                <c:pt idx="231">
                  <c:v>118.69918699186992</c:v>
                </c:pt>
                <c:pt idx="232">
                  <c:v>118.80758807588074</c:v>
                </c:pt>
                <c:pt idx="233">
                  <c:v>118.40650406504065</c:v>
                </c:pt>
                <c:pt idx="234">
                  <c:v>118.12466124661245</c:v>
                </c:pt>
                <c:pt idx="235">
                  <c:v>119.00271002710028</c:v>
                </c:pt>
                <c:pt idx="236">
                  <c:v>117.97289972899728</c:v>
                </c:pt>
                <c:pt idx="237">
                  <c:v>119.24119241192412</c:v>
                </c:pt>
                <c:pt idx="238">
                  <c:v>118.61246612466122</c:v>
                </c:pt>
                <c:pt idx="239">
                  <c:v>117.4959349593496</c:v>
                </c:pt>
                <c:pt idx="240">
                  <c:v>117.15989159891598</c:v>
                </c:pt>
                <c:pt idx="241">
                  <c:v>117.84281842818427</c:v>
                </c:pt>
                <c:pt idx="242">
                  <c:v>118.66666666666666</c:v>
                </c:pt>
                <c:pt idx="243">
                  <c:v>118.35230352303523</c:v>
                </c:pt>
                <c:pt idx="244">
                  <c:v>116.48780487804875</c:v>
                </c:pt>
                <c:pt idx="245">
                  <c:v>115.46883468834687</c:v>
                </c:pt>
                <c:pt idx="246">
                  <c:v>115.36043360433604</c:v>
                </c:pt>
                <c:pt idx="247">
                  <c:v>114.40650406504065</c:v>
                </c:pt>
                <c:pt idx="248">
                  <c:v>116.33604336043359</c:v>
                </c:pt>
                <c:pt idx="249">
                  <c:v>116.49864498644986</c:v>
                </c:pt>
                <c:pt idx="250">
                  <c:v>117.00813008130082</c:v>
                </c:pt>
                <c:pt idx="251">
                  <c:v>116.52032520325204</c:v>
                </c:pt>
                <c:pt idx="252">
                  <c:v>117.92953929539294</c:v>
                </c:pt>
                <c:pt idx="253">
                  <c:v>118.77506775067749</c:v>
                </c:pt>
                <c:pt idx="254">
                  <c:v>120.20596205962057</c:v>
                </c:pt>
                <c:pt idx="255">
                  <c:v>121.39837398373983</c:v>
                </c:pt>
                <c:pt idx="256">
                  <c:v>121.52845528455283</c:v>
                </c:pt>
                <c:pt idx="257">
                  <c:v>121.04065040650404</c:v>
                </c:pt>
                <c:pt idx="258">
                  <c:v>122.91598915989159</c:v>
                </c:pt>
                <c:pt idx="259">
                  <c:v>123.1978319783198</c:v>
                </c:pt>
                <c:pt idx="260">
                  <c:v>123.25203252032517</c:v>
                </c:pt>
                <c:pt idx="261">
                  <c:v>125.51761517615176</c:v>
                </c:pt>
                <c:pt idx="262">
                  <c:v>124.7479674796748</c:v>
                </c:pt>
                <c:pt idx="263">
                  <c:v>124.76964769647697</c:v>
                </c:pt>
                <c:pt idx="264">
                  <c:v>124.98644986449862</c:v>
                </c:pt>
                <c:pt idx="265">
                  <c:v>125.48509485094851</c:v>
                </c:pt>
                <c:pt idx="266">
                  <c:v>125.53929539295392</c:v>
                </c:pt>
                <c:pt idx="267">
                  <c:v>125.79945799457994</c:v>
                </c:pt>
                <c:pt idx="268">
                  <c:v>124.4661246612466</c:v>
                </c:pt>
                <c:pt idx="269">
                  <c:v>125.66937669376695</c:v>
                </c:pt>
                <c:pt idx="270">
                  <c:v>125.55013550135499</c:v>
                </c:pt>
                <c:pt idx="271">
                  <c:v>125.27913279132792</c:v>
                </c:pt>
                <c:pt idx="272">
                  <c:v>125.74525745257452</c:v>
                </c:pt>
                <c:pt idx="273">
                  <c:v>124.97560975609758</c:v>
                </c:pt>
                <c:pt idx="274">
                  <c:v>124.70460704607046</c:v>
                </c:pt>
                <c:pt idx="275">
                  <c:v>124.94308943089429</c:v>
                </c:pt>
                <c:pt idx="276">
                  <c:v>126.41734417344172</c:v>
                </c:pt>
                <c:pt idx="277">
                  <c:v>127.21951219512194</c:v>
                </c:pt>
                <c:pt idx="278">
                  <c:v>127.78319783197828</c:v>
                </c:pt>
                <c:pt idx="279">
                  <c:v>128.29268292682926</c:v>
                </c:pt>
                <c:pt idx="280">
                  <c:v>129.00813008130081</c:v>
                </c:pt>
                <c:pt idx="281">
                  <c:v>130.90514905149053</c:v>
                </c:pt>
                <c:pt idx="282">
                  <c:v>131.65311653116532</c:v>
                </c:pt>
                <c:pt idx="283">
                  <c:v>131.90243902439025</c:v>
                </c:pt>
                <c:pt idx="284">
                  <c:v>133.06233062330622</c:v>
                </c:pt>
                <c:pt idx="285">
                  <c:v>131.75067750677505</c:v>
                </c:pt>
                <c:pt idx="286">
                  <c:v>132.84552845528452</c:v>
                </c:pt>
                <c:pt idx="287">
                  <c:v>132.18428184281842</c:v>
                </c:pt>
                <c:pt idx="288">
                  <c:v>132.20596205962059</c:v>
                </c:pt>
                <c:pt idx="289">
                  <c:v>132.11924119241192</c:v>
                </c:pt>
                <c:pt idx="290">
                  <c:v>131.82655826558263</c:v>
                </c:pt>
                <c:pt idx="291">
                  <c:v>131.19783197831978</c:v>
                </c:pt>
                <c:pt idx="292">
                  <c:v>130.12466124661245</c:v>
                </c:pt>
                <c:pt idx="293">
                  <c:v>130.59078590785907</c:v>
                </c:pt>
                <c:pt idx="294">
                  <c:v>130.20054200542</c:v>
                </c:pt>
                <c:pt idx="295">
                  <c:v>131.33875338753384</c:v>
                </c:pt>
                <c:pt idx="296">
                  <c:v>129.25745257452573</c:v>
                </c:pt>
                <c:pt idx="297">
                  <c:v>128.71544715447155</c:v>
                </c:pt>
                <c:pt idx="298">
                  <c:v>128.84552845528455</c:v>
                </c:pt>
                <c:pt idx="299">
                  <c:v>129.04065040650408</c:v>
                </c:pt>
                <c:pt idx="300">
                  <c:v>128.45528455284551</c:v>
                </c:pt>
                <c:pt idx="301">
                  <c:v>129.58265582655827</c:v>
                </c:pt>
                <c:pt idx="302">
                  <c:v>130.26558265582656</c:v>
                </c:pt>
                <c:pt idx="303">
                  <c:v>131.30623306233059</c:v>
                </c:pt>
                <c:pt idx="304">
                  <c:v>130.25474254742545</c:v>
                </c:pt>
                <c:pt idx="305">
                  <c:v>129.61517615176149</c:v>
                </c:pt>
                <c:pt idx="306">
                  <c:v>129.05149051490514</c:v>
                </c:pt>
                <c:pt idx="307">
                  <c:v>129.3441734417344</c:v>
                </c:pt>
                <c:pt idx="308">
                  <c:v>129.66937669376694</c:v>
                </c:pt>
                <c:pt idx="309">
                  <c:v>129.55013550135502</c:v>
                </c:pt>
                <c:pt idx="310">
                  <c:v>129.85365853658536</c:v>
                </c:pt>
                <c:pt idx="311">
                  <c:v>130.3089430894309</c:v>
                </c:pt>
                <c:pt idx="312">
                  <c:v>130.47154471544712</c:v>
                </c:pt>
                <c:pt idx="313">
                  <c:v>129.28997289972898</c:v>
                </c:pt>
                <c:pt idx="314">
                  <c:v>128.42276422764226</c:v>
                </c:pt>
                <c:pt idx="315">
                  <c:v>127.1761517615176</c:v>
                </c:pt>
                <c:pt idx="316">
                  <c:v>126.1680216802168</c:v>
                </c:pt>
                <c:pt idx="317">
                  <c:v>126.74254742547426</c:v>
                </c:pt>
                <c:pt idx="318">
                  <c:v>127.40379403794036</c:v>
                </c:pt>
                <c:pt idx="319">
                  <c:v>127.83739837398376</c:v>
                </c:pt>
                <c:pt idx="320">
                  <c:v>126.52574525745257</c:v>
                </c:pt>
                <c:pt idx="321">
                  <c:v>124.94308943089429</c:v>
                </c:pt>
                <c:pt idx="322">
                  <c:v>125.46341463414635</c:v>
                </c:pt>
                <c:pt idx="323">
                  <c:v>126.07046070460703</c:v>
                </c:pt>
                <c:pt idx="324">
                  <c:v>125.82113821138211</c:v>
                </c:pt>
                <c:pt idx="325">
                  <c:v>126.60162601626017</c:v>
                </c:pt>
                <c:pt idx="326">
                  <c:v>127.41463414634147</c:v>
                </c:pt>
                <c:pt idx="327">
                  <c:v>128.05420054200539</c:v>
                </c:pt>
                <c:pt idx="328">
                  <c:v>129.11653116531164</c:v>
                </c:pt>
                <c:pt idx="329">
                  <c:v>129.22493224932245</c:v>
                </c:pt>
                <c:pt idx="330">
                  <c:v>130.3739837398374</c:v>
                </c:pt>
                <c:pt idx="331">
                  <c:v>130.72086720867208</c:v>
                </c:pt>
                <c:pt idx="332">
                  <c:v>130.61246612466121</c:v>
                </c:pt>
                <c:pt idx="333">
                  <c:v>129.65853658536585</c:v>
                </c:pt>
                <c:pt idx="334">
                  <c:v>130.13550135501356</c:v>
                </c:pt>
                <c:pt idx="335">
                  <c:v>129.94037940379403</c:v>
                </c:pt>
                <c:pt idx="336">
                  <c:v>130.40650406504065</c:v>
                </c:pt>
                <c:pt idx="337">
                  <c:v>130.46070460704607</c:v>
                </c:pt>
                <c:pt idx="338">
                  <c:v>130.38482384823845</c:v>
                </c:pt>
                <c:pt idx="339">
                  <c:v>131.79403794037938</c:v>
                </c:pt>
                <c:pt idx="340">
                  <c:v>132.32520325203251</c:v>
                </c:pt>
                <c:pt idx="341">
                  <c:v>131.94579945799458</c:v>
                </c:pt>
                <c:pt idx="342">
                  <c:v>132.11924119241192</c:v>
                </c:pt>
                <c:pt idx="343">
                  <c:v>132.130081300813</c:v>
                </c:pt>
                <c:pt idx="344">
                  <c:v>131.92411924119241</c:v>
                </c:pt>
                <c:pt idx="345">
                  <c:v>131.76151761517613</c:v>
                </c:pt>
                <c:pt idx="346">
                  <c:v>132.11924119241192</c:v>
                </c:pt>
                <c:pt idx="347">
                  <c:v>132.4661246612466</c:v>
                </c:pt>
                <c:pt idx="348">
                  <c:v>131.97831978319783</c:v>
                </c:pt>
                <c:pt idx="349">
                  <c:v>129.61517615176149</c:v>
                </c:pt>
                <c:pt idx="350">
                  <c:v>128.96476964769644</c:v>
                </c:pt>
                <c:pt idx="351">
                  <c:v>128.65040650406502</c:v>
                </c:pt>
                <c:pt idx="352">
                  <c:v>128.4661246612466</c:v>
                </c:pt>
                <c:pt idx="353">
                  <c:v>127.88075880758807</c:v>
                </c:pt>
                <c:pt idx="354">
                  <c:v>126.88346883468833</c:v>
                </c:pt>
                <c:pt idx="355">
                  <c:v>126.79674796747966</c:v>
                </c:pt>
                <c:pt idx="356">
                  <c:v>126.30894308943088</c:v>
                </c:pt>
                <c:pt idx="357">
                  <c:v>126.66666666666664</c:v>
                </c:pt>
                <c:pt idx="358">
                  <c:v>128.27100271002706</c:v>
                </c:pt>
                <c:pt idx="359">
                  <c:v>129.22493224932245</c:v>
                </c:pt>
                <c:pt idx="360">
                  <c:v>129.6910569105691</c:v>
                </c:pt>
                <c:pt idx="361">
                  <c:v>131.32791327913279</c:v>
                </c:pt>
                <c:pt idx="362">
                  <c:v>132.08672086720867</c:v>
                </c:pt>
                <c:pt idx="363">
                  <c:v>132.69376693766935</c:v>
                </c:pt>
                <c:pt idx="364">
                  <c:v>133.64769647696477</c:v>
                </c:pt>
                <c:pt idx="365">
                  <c:v>134.29810298102979</c:v>
                </c:pt>
                <c:pt idx="366">
                  <c:v>134.54742547425474</c:v>
                </c:pt>
                <c:pt idx="367">
                  <c:v>134.78590785907861</c:v>
                </c:pt>
                <c:pt idx="368">
                  <c:v>134.74254742547424</c:v>
                </c:pt>
                <c:pt idx="369">
                  <c:v>135.41463414634146</c:v>
                </c:pt>
                <c:pt idx="370">
                  <c:v>136.32520325203251</c:v>
                </c:pt>
                <c:pt idx="371">
                  <c:v>137.01897018970192</c:v>
                </c:pt>
                <c:pt idx="372">
                  <c:v>136.03252032520322</c:v>
                </c:pt>
                <c:pt idx="373">
                  <c:v>135.94579945799455</c:v>
                </c:pt>
                <c:pt idx="374">
                  <c:v>136.80216802168022</c:v>
                </c:pt>
                <c:pt idx="375">
                  <c:v>134.67750677506774</c:v>
                </c:pt>
                <c:pt idx="376">
                  <c:v>136.34688346883468</c:v>
                </c:pt>
                <c:pt idx="377">
                  <c:v>136.80216802168022</c:v>
                </c:pt>
                <c:pt idx="378">
                  <c:v>138.54742547425474</c:v>
                </c:pt>
                <c:pt idx="379">
                  <c:v>137.78861788617886</c:v>
                </c:pt>
                <c:pt idx="380">
                  <c:v>137.06233062330625</c:v>
                </c:pt>
                <c:pt idx="381">
                  <c:v>137.4742547425474</c:v>
                </c:pt>
                <c:pt idx="382">
                  <c:v>136.41192411924118</c:v>
                </c:pt>
                <c:pt idx="383">
                  <c:v>136.39024390243901</c:v>
                </c:pt>
                <c:pt idx="384">
                  <c:v>135.1653116531165</c:v>
                </c:pt>
                <c:pt idx="385">
                  <c:v>136.62872628726285</c:v>
                </c:pt>
                <c:pt idx="386">
                  <c:v>137.61517615176155</c:v>
                </c:pt>
                <c:pt idx="387">
                  <c:v>137.18157181571814</c:v>
                </c:pt>
                <c:pt idx="388">
                  <c:v>135.39295392953929</c:v>
                </c:pt>
                <c:pt idx="389">
                  <c:v>135.92411924119241</c:v>
                </c:pt>
                <c:pt idx="390">
                  <c:v>134.63414634146341</c:v>
                </c:pt>
                <c:pt idx="391">
                  <c:v>136.18428184281842</c:v>
                </c:pt>
                <c:pt idx="392">
                  <c:v>137.21409214092139</c:v>
                </c:pt>
                <c:pt idx="393">
                  <c:v>136.71544715447155</c:v>
                </c:pt>
                <c:pt idx="394">
                  <c:v>137.6260162601626</c:v>
                </c:pt>
                <c:pt idx="395">
                  <c:v>138.23306233062328</c:v>
                </c:pt>
                <c:pt idx="396">
                  <c:v>139.72899728997291</c:v>
                </c:pt>
                <c:pt idx="397">
                  <c:v>139.50135501355012</c:v>
                </c:pt>
                <c:pt idx="398">
                  <c:v>138.64498644986452</c:v>
                </c:pt>
                <c:pt idx="399">
                  <c:v>138.88346883468833</c:v>
                </c:pt>
                <c:pt idx="400">
                  <c:v>138.13550135501356</c:v>
                </c:pt>
                <c:pt idx="401">
                  <c:v>137.59349593495935</c:v>
                </c:pt>
                <c:pt idx="402">
                  <c:v>138.64498644986452</c:v>
                </c:pt>
                <c:pt idx="403">
                  <c:v>138.11382113821139</c:v>
                </c:pt>
                <c:pt idx="404">
                  <c:v>136.57452574525746</c:v>
                </c:pt>
                <c:pt idx="405">
                  <c:v>135.28455284552845</c:v>
                </c:pt>
                <c:pt idx="406">
                  <c:v>133.92953929539294</c:v>
                </c:pt>
                <c:pt idx="407">
                  <c:v>135.83739837398372</c:v>
                </c:pt>
                <c:pt idx="408">
                  <c:v>136.95392953929539</c:v>
                </c:pt>
                <c:pt idx="409">
                  <c:v>138.5691056910569</c:v>
                </c:pt>
                <c:pt idx="410">
                  <c:v>138.89430894308944</c:v>
                </c:pt>
                <c:pt idx="411">
                  <c:v>139.47967479674796</c:v>
                </c:pt>
                <c:pt idx="412">
                  <c:v>138.59078590785907</c:v>
                </c:pt>
                <c:pt idx="413">
                  <c:v>139.07859078590786</c:v>
                </c:pt>
                <c:pt idx="414">
                  <c:v>141.18157181571814</c:v>
                </c:pt>
                <c:pt idx="415">
                  <c:v>141.10569105691056</c:v>
                </c:pt>
                <c:pt idx="416">
                  <c:v>141.06233062330622</c:v>
                </c:pt>
                <c:pt idx="417">
                  <c:v>141.55013550135502</c:v>
                </c:pt>
                <c:pt idx="418">
                  <c:v>141.51761517615176</c:v>
                </c:pt>
                <c:pt idx="419">
                  <c:v>141.98373983739833</c:v>
                </c:pt>
                <c:pt idx="420">
                  <c:v>142.46070460704604</c:v>
                </c:pt>
                <c:pt idx="421">
                  <c:v>143.05691056910567</c:v>
                </c:pt>
                <c:pt idx="422">
                  <c:v>141.51761517615176</c:v>
                </c:pt>
                <c:pt idx="423">
                  <c:v>142.39566395663957</c:v>
                </c:pt>
                <c:pt idx="424">
                  <c:v>142.23306233062331</c:v>
                </c:pt>
                <c:pt idx="425">
                  <c:v>141.65853658536588</c:v>
                </c:pt>
                <c:pt idx="426">
                  <c:v>140.18428184281842</c:v>
                </c:pt>
                <c:pt idx="427">
                  <c:v>139.98915989159889</c:v>
                </c:pt>
                <c:pt idx="428">
                  <c:v>140.33604336043362</c:v>
                </c:pt>
                <c:pt idx="429">
                  <c:v>140.03252032520325</c:v>
                </c:pt>
                <c:pt idx="430">
                  <c:v>140.37940379403796</c:v>
                </c:pt>
                <c:pt idx="431">
                  <c:v>140.57452574525746</c:v>
                </c:pt>
                <c:pt idx="432">
                  <c:v>141.23577235772356</c:v>
                </c:pt>
                <c:pt idx="433">
                  <c:v>142.0921409214092</c:v>
                </c:pt>
                <c:pt idx="434">
                  <c:v>142.03794037940378</c:v>
                </c:pt>
                <c:pt idx="435">
                  <c:v>142.08130081300811</c:v>
                </c:pt>
                <c:pt idx="436">
                  <c:v>142.36314363143632</c:v>
                </c:pt>
                <c:pt idx="437">
                  <c:v>142.77506775067749</c:v>
                </c:pt>
                <c:pt idx="438">
                  <c:v>142.76422764227641</c:v>
                </c:pt>
                <c:pt idx="439">
                  <c:v>142.18970189701895</c:v>
                </c:pt>
                <c:pt idx="440">
                  <c:v>142.29810298102981</c:v>
                </c:pt>
                <c:pt idx="441">
                  <c:v>143.33875338753387</c:v>
                </c:pt>
                <c:pt idx="442">
                  <c:v>145.24661246612467</c:v>
                </c:pt>
                <c:pt idx="443">
                  <c:v>145.35501355013551</c:v>
                </c:pt>
                <c:pt idx="444">
                  <c:v>144.96476964769647</c:v>
                </c:pt>
                <c:pt idx="445">
                  <c:v>143.55555555555554</c:v>
                </c:pt>
                <c:pt idx="446">
                  <c:v>143.69647696476963</c:v>
                </c:pt>
                <c:pt idx="447">
                  <c:v>142.85094850948508</c:v>
                </c:pt>
                <c:pt idx="448">
                  <c:v>142.46070460704604</c:v>
                </c:pt>
                <c:pt idx="449">
                  <c:v>142.3523035230352</c:v>
                </c:pt>
                <c:pt idx="450">
                  <c:v>142.67750677506774</c:v>
                </c:pt>
                <c:pt idx="451">
                  <c:v>143.84823848238483</c:v>
                </c:pt>
                <c:pt idx="452">
                  <c:v>142.42818428184282</c:v>
                </c:pt>
                <c:pt idx="453">
                  <c:v>143.08943089430892</c:v>
                </c:pt>
                <c:pt idx="454">
                  <c:v>142.970189701897</c:v>
                </c:pt>
                <c:pt idx="455">
                  <c:v>142.2222222222222</c:v>
                </c:pt>
                <c:pt idx="456">
                  <c:v>143.39295392953929</c:v>
                </c:pt>
                <c:pt idx="457">
                  <c:v>143.6531165311653</c:v>
                </c:pt>
                <c:pt idx="458">
                  <c:v>143.56639566395663</c:v>
                </c:pt>
                <c:pt idx="459">
                  <c:v>143.73983739837396</c:v>
                </c:pt>
                <c:pt idx="460">
                  <c:v>144.62872628726285</c:v>
                </c:pt>
                <c:pt idx="461">
                  <c:v>144.27100271002712</c:v>
                </c:pt>
                <c:pt idx="462">
                  <c:v>144.34688346883468</c:v>
                </c:pt>
                <c:pt idx="463">
                  <c:v>144.15176151761514</c:v>
                </c:pt>
                <c:pt idx="464">
                  <c:v>143.13279132791325</c:v>
                </c:pt>
                <c:pt idx="465">
                  <c:v>142.85094850948508</c:v>
                </c:pt>
                <c:pt idx="466">
                  <c:v>141.71273712737127</c:v>
                </c:pt>
                <c:pt idx="467">
                  <c:v>142.34146341463415</c:v>
                </c:pt>
                <c:pt idx="468">
                  <c:v>143.13279132791325</c:v>
                </c:pt>
                <c:pt idx="469">
                  <c:v>142.4390243902439</c:v>
                </c:pt>
                <c:pt idx="470">
                  <c:v>143.58807588075882</c:v>
                </c:pt>
                <c:pt idx="471">
                  <c:v>143.04607046070458</c:v>
                </c:pt>
                <c:pt idx="472">
                  <c:v>143.06775067750678</c:v>
                </c:pt>
                <c:pt idx="473">
                  <c:v>143.20867208672087</c:v>
                </c:pt>
                <c:pt idx="474">
                  <c:v>144.20596205962056</c:v>
                </c:pt>
                <c:pt idx="475">
                  <c:v>144.71544715447152</c:v>
                </c:pt>
                <c:pt idx="476">
                  <c:v>145.14905149051489</c:v>
                </c:pt>
                <c:pt idx="477">
                  <c:v>144.75880758807585</c:v>
                </c:pt>
                <c:pt idx="478">
                  <c:v>144.62872628726285</c:v>
                </c:pt>
                <c:pt idx="479">
                  <c:v>144.62872628726285</c:v>
                </c:pt>
                <c:pt idx="480">
                  <c:v>143.88075880758805</c:v>
                </c:pt>
                <c:pt idx="481">
                  <c:v>142.89430894308941</c:v>
                </c:pt>
                <c:pt idx="482">
                  <c:v>141.50677506775068</c:v>
                </c:pt>
                <c:pt idx="483">
                  <c:v>141.48509485094851</c:v>
                </c:pt>
                <c:pt idx="484">
                  <c:v>140.74796747967477</c:v>
                </c:pt>
                <c:pt idx="485">
                  <c:v>140.11924119241189</c:v>
                </c:pt>
                <c:pt idx="486">
                  <c:v>139.19783197831978</c:v>
                </c:pt>
                <c:pt idx="487">
                  <c:v>138.41734417344173</c:v>
                </c:pt>
                <c:pt idx="488">
                  <c:v>139.4037940379404</c:v>
                </c:pt>
                <c:pt idx="489">
                  <c:v>139.98915989159889</c:v>
                </c:pt>
                <c:pt idx="490">
                  <c:v>140.62872628726285</c:v>
                </c:pt>
                <c:pt idx="491">
                  <c:v>141.24661246612467</c:v>
                </c:pt>
                <c:pt idx="492">
                  <c:v>141.39837398373982</c:v>
                </c:pt>
                <c:pt idx="493">
                  <c:v>142.39566395663957</c:v>
                </c:pt>
                <c:pt idx="494">
                  <c:v>142.92682926829266</c:v>
                </c:pt>
                <c:pt idx="495">
                  <c:v>143.44715447154474</c:v>
                </c:pt>
                <c:pt idx="496">
                  <c:v>144.14092140921406</c:v>
                </c:pt>
                <c:pt idx="497">
                  <c:v>143.34959349593495</c:v>
                </c:pt>
                <c:pt idx="498">
                  <c:v>144.04336043360433</c:v>
                </c:pt>
                <c:pt idx="499">
                  <c:v>144.91056910569105</c:v>
                </c:pt>
                <c:pt idx="500">
                  <c:v>145.27913279132792</c:v>
                </c:pt>
                <c:pt idx="501">
                  <c:v>144.49864498644988</c:v>
                </c:pt>
                <c:pt idx="502">
                  <c:v>144.4661246612466</c:v>
                </c:pt>
                <c:pt idx="503">
                  <c:v>144.63956639566396</c:v>
                </c:pt>
                <c:pt idx="504">
                  <c:v>144.26016260162604</c:v>
                </c:pt>
                <c:pt idx="505">
                  <c:v>145.22493224932248</c:v>
                </c:pt>
                <c:pt idx="506">
                  <c:v>145.08401084010839</c:v>
                </c:pt>
                <c:pt idx="507">
                  <c:v>144.41192411924118</c:v>
                </c:pt>
                <c:pt idx="508">
                  <c:v>142.93766937669378</c:v>
                </c:pt>
                <c:pt idx="509">
                  <c:v>141.91869918699186</c:v>
                </c:pt>
                <c:pt idx="510">
                  <c:v>140.76964769647697</c:v>
                </c:pt>
                <c:pt idx="511">
                  <c:v>140.53116531165307</c:v>
                </c:pt>
                <c:pt idx="512">
                  <c:v>139.869918699187</c:v>
                </c:pt>
                <c:pt idx="513">
                  <c:v>138.62330623306232</c:v>
                </c:pt>
                <c:pt idx="514">
                  <c:v>138.12466124661245</c:v>
                </c:pt>
                <c:pt idx="515">
                  <c:v>138.69918699186991</c:v>
                </c:pt>
                <c:pt idx="516">
                  <c:v>138.94850948509486</c:v>
                </c:pt>
                <c:pt idx="517">
                  <c:v>138.60162601626016</c:v>
                </c:pt>
                <c:pt idx="518">
                  <c:v>137.50677506775065</c:v>
                </c:pt>
                <c:pt idx="519">
                  <c:v>137.02981029810297</c:v>
                </c:pt>
                <c:pt idx="520">
                  <c:v>136.73712737127371</c:v>
                </c:pt>
                <c:pt idx="521">
                  <c:v>135.72899728997288</c:v>
                </c:pt>
                <c:pt idx="522">
                  <c:v>135.12195121951217</c:v>
                </c:pt>
                <c:pt idx="523">
                  <c:v>134.02710027100269</c:v>
                </c:pt>
                <c:pt idx="524">
                  <c:v>133.65853658536585</c:v>
                </c:pt>
                <c:pt idx="525">
                  <c:v>132.6178861788618</c:v>
                </c:pt>
                <c:pt idx="526">
                  <c:v>130.68834688346885</c:v>
                </c:pt>
                <c:pt idx="527">
                  <c:v>130.2872628726287</c:v>
                </c:pt>
                <c:pt idx="528">
                  <c:v>131.19783197831978</c:v>
                </c:pt>
                <c:pt idx="529">
                  <c:v>130.86178861788619</c:v>
                </c:pt>
                <c:pt idx="530">
                  <c:v>130.51490514905149</c:v>
                </c:pt>
                <c:pt idx="531">
                  <c:v>130.31978319783198</c:v>
                </c:pt>
                <c:pt idx="532">
                  <c:v>127.62059620596207</c:v>
                </c:pt>
                <c:pt idx="533">
                  <c:v>128.19512195121951</c:v>
                </c:pt>
                <c:pt idx="534">
                  <c:v>127.80487804878049</c:v>
                </c:pt>
                <c:pt idx="535">
                  <c:v>126.54742547425472</c:v>
                </c:pt>
                <c:pt idx="536">
                  <c:v>125.63685636856367</c:v>
                </c:pt>
                <c:pt idx="537">
                  <c:v>127.26287262872629</c:v>
                </c:pt>
                <c:pt idx="538">
                  <c:v>127.94579945799455</c:v>
                </c:pt>
                <c:pt idx="539">
                  <c:v>129.18157181571814</c:v>
                </c:pt>
                <c:pt idx="540">
                  <c:v>129.88617886178861</c:v>
                </c:pt>
                <c:pt idx="541">
                  <c:v>130.13550135501356</c:v>
                </c:pt>
                <c:pt idx="542">
                  <c:v>130.75338753387533</c:v>
                </c:pt>
                <c:pt idx="543">
                  <c:v>130.5691056910569</c:v>
                </c:pt>
                <c:pt idx="544">
                  <c:v>132.60704607046071</c:v>
                </c:pt>
                <c:pt idx="545">
                  <c:v>133.11653116531164</c:v>
                </c:pt>
                <c:pt idx="546">
                  <c:v>132.47696476964768</c:v>
                </c:pt>
                <c:pt idx="547">
                  <c:v>133.77777777777777</c:v>
                </c:pt>
                <c:pt idx="548">
                  <c:v>132.04336043360433</c:v>
                </c:pt>
                <c:pt idx="549">
                  <c:v>131.83739837398375</c:v>
                </c:pt>
                <c:pt idx="550">
                  <c:v>132.56368563685638</c:v>
                </c:pt>
                <c:pt idx="551">
                  <c:v>131.99999999999997</c:v>
                </c:pt>
                <c:pt idx="552">
                  <c:v>131.75067750677505</c:v>
                </c:pt>
                <c:pt idx="553">
                  <c:v>132.88888888888889</c:v>
                </c:pt>
                <c:pt idx="554">
                  <c:v>133.10569105691056</c:v>
                </c:pt>
                <c:pt idx="555">
                  <c:v>132.14092140921409</c:v>
                </c:pt>
                <c:pt idx="556">
                  <c:v>131.93495934959347</c:v>
                </c:pt>
                <c:pt idx="557">
                  <c:v>132.18428184281842</c:v>
                </c:pt>
                <c:pt idx="558">
                  <c:v>132.01084010840106</c:v>
                </c:pt>
              </c:numCache>
            </c:numRef>
          </c:val>
          <c:smooth val="0"/>
        </c:ser>
        <c:ser>
          <c:idx val="1"/>
          <c:order val="1"/>
          <c:tx>
            <c:strRef>
              <c:f>Sheet1!$C$1</c:f>
              <c:strCache>
                <c:ptCount val="1"/>
                <c:pt idx="0">
                  <c:v>STOXX Global 1800</c:v>
                </c:pt>
              </c:strCache>
            </c:strRef>
          </c:tx>
          <c:spPr>
            <a:ln w="28575">
              <a:solidFill>
                <a:schemeClr val="accent4"/>
              </a:solidFill>
              <a:prstDash val="solid"/>
            </a:ln>
          </c:spPr>
          <c:marker>
            <c:symbol val="none"/>
          </c:marker>
          <c:cat>
            <c:numRef>
              <c:f>Sheet1!$A$2:$A$560</c:f>
              <c:numCache>
                <c:formatCode>m/d/yyyy</c:formatCode>
                <c:ptCount val="559"/>
                <c:pt idx="0">
                  <c:v>41164</c:v>
                </c:pt>
                <c:pt idx="1">
                  <c:v>41165</c:v>
                </c:pt>
                <c:pt idx="2">
                  <c:v>41166</c:v>
                </c:pt>
                <c:pt idx="3">
                  <c:v>41169</c:v>
                </c:pt>
                <c:pt idx="4">
                  <c:v>41170</c:v>
                </c:pt>
                <c:pt idx="5">
                  <c:v>41171</c:v>
                </c:pt>
                <c:pt idx="6">
                  <c:v>41172</c:v>
                </c:pt>
                <c:pt idx="7">
                  <c:v>41173</c:v>
                </c:pt>
                <c:pt idx="8">
                  <c:v>41176</c:v>
                </c:pt>
                <c:pt idx="9">
                  <c:v>41177</c:v>
                </c:pt>
                <c:pt idx="10">
                  <c:v>41178</c:v>
                </c:pt>
                <c:pt idx="11">
                  <c:v>41179</c:v>
                </c:pt>
                <c:pt idx="12">
                  <c:v>41180</c:v>
                </c:pt>
                <c:pt idx="13">
                  <c:v>41183</c:v>
                </c:pt>
                <c:pt idx="14">
                  <c:v>41184</c:v>
                </c:pt>
                <c:pt idx="15">
                  <c:v>41185</c:v>
                </c:pt>
                <c:pt idx="16">
                  <c:v>41186</c:v>
                </c:pt>
                <c:pt idx="17">
                  <c:v>41187</c:v>
                </c:pt>
                <c:pt idx="18">
                  <c:v>41190</c:v>
                </c:pt>
                <c:pt idx="19">
                  <c:v>41191</c:v>
                </c:pt>
                <c:pt idx="20">
                  <c:v>41192</c:v>
                </c:pt>
                <c:pt idx="21">
                  <c:v>41193</c:v>
                </c:pt>
                <c:pt idx="22">
                  <c:v>41194</c:v>
                </c:pt>
                <c:pt idx="23">
                  <c:v>41197</c:v>
                </c:pt>
                <c:pt idx="24">
                  <c:v>41198</c:v>
                </c:pt>
                <c:pt idx="25">
                  <c:v>41199</c:v>
                </c:pt>
                <c:pt idx="26">
                  <c:v>41200</c:v>
                </c:pt>
                <c:pt idx="27">
                  <c:v>41201</c:v>
                </c:pt>
                <c:pt idx="28">
                  <c:v>41204</c:v>
                </c:pt>
                <c:pt idx="29">
                  <c:v>41205</c:v>
                </c:pt>
                <c:pt idx="30">
                  <c:v>41206</c:v>
                </c:pt>
                <c:pt idx="31">
                  <c:v>41207</c:v>
                </c:pt>
                <c:pt idx="32">
                  <c:v>41208</c:v>
                </c:pt>
                <c:pt idx="33">
                  <c:v>41211</c:v>
                </c:pt>
                <c:pt idx="34">
                  <c:v>41212</c:v>
                </c:pt>
                <c:pt idx="35">
                  <c:v>41213</c:v>
                </c:pt>
                <c:pt idx="36">
                  <c:v>41214</c:v>
                </c:pt>
                <c:pt idx="37">
                  <c:v>41215</c:v>
                </c:pt>
                <c:pt idx="38">
                  <c:v>41218</c:v>
                </c:pt>
                <c:pt idx="39">
                  <c:v>41219</c:v>
                </c:pt>
                <c:pt idx="40">
                  <c:v>41220</c:v>
                </c:pt>
                <c:pt idx="41">
                  <c:v>41221</c:v>
                </c:pt>
                <c:pt idx="42">
                  <c:v>41222</c:v>
                </c:pt>
                <c:pt idx="43">
                  <c:v>41225</c:v>
                </c:pt>
                <c:pt idx="44">
                  <c:v>41226</c:v>
                </c:pt>
                <c:pt idx="45">
                  <c:v>41227</c:v>
                </c:pt>
                <c:pt idx="46">
                  <c:v>41228</c:v>
                </c:pt>
                <c:pt idx="47">
                  <c:v>41229</c:v>
                </c:pt>
                <c:pt idx="48">
                  <c:v>41232</c:v>
                </c:pt>
                <c:pt idx="49">
                  <c:v>41233</c:v>
                </c:pt>
                <c:pt idx="50">
                  <c:v>41234</c:v>
                </c:pt>
                <c:pt idx="51">
                  <c:v>41235</c:v>
                </c:pt>
                <c:pt idx="52">
                  <c:v>41236</c:v>
                </c:pt>
                <c:pt idx="53">
                  <c:v>41239</c:v>
                </c:pt>
                <c:pt idx="54">
                  <c:v>41240</c:v>
                </c:pt>
                <c:pt idx="55">
                  <c:v>41241</c:v>
                </c:pt>
                <c:pt idx="56">
                  <c:v>41242</c:v>
                </c:pt>
                <c:pt idx="57">
                  <c:v>41243</c:v>
                </c:pt>
                <c:pt idx="58">
                  <c:v>41246</c:v>
                </c:pt>
                <c:pt idx="59">
                  <c:v>41247</c:v>
                </c:pt>
                <c:pt idx="60">
                  <c:v>41248</c:v>
                </c:pt>
                <c:pt idx="61">
                  <c:v>41249</c:v>
                </c:pt>
                <c:pt idx="62">
                  <c:v>41250</c:v>
                </c:pt>
                <c:pt idx="63">
                  <c:v>41253</c:v>
                </c:pt>
                <c:pt idx="64">
                  <c:v>41254</c:v>
                </c:pt>
                <c:pt idx="65">
                  <c:v>41255</c:v>
                </c:pt>
                <c:pt idx="66">
                  <c:v>41256</c:v>
                </c:pt>
                <c:pt idx="67">
                  <c:v>41257</c:v>
                </c:pt>
                <c:pt idx="68">
                  <c:v>41260</c:v>
                </c:pt>
                <c:pt idx="69">
                  <c:v>41261</c:v>
                </c:pt>
                <c:pt idx="70">
                  <c:v>41262</c:v>
                </c:pt>
                <c:pt idx="71">
                  <c:v>41263</c:v>
                </c:pt>
                <c:pt idx="72">
                  <c:v>41264</c:v>
                </c:pt>
                <c:pt idx="73">
                  <c:v>41267</c:v>
                </c:pt>
                <c:pt idx="74">
                  <c:v>41270</c:v>
                </c:pt>
                <c:pt idx="75">
                  <c:v>41271</c:v>
                </c:pt>
                <c:pt idx="76">
                  <c:v>41274</c:v>
                </c:pt>
                <c:pt idx="77">
                  <c:v>41276</c:v>
                </c:pt>
                <c:pt idx="78">
                  <c:v>41277</c:v>
                </c:pt>
                <c:pt idx="79">
                  <c:v>41278</c:v>
                </c:pt>
                <c:pt idx="80">
                  <c:v>41281</c:v>
                </c:pt>
                <c:pt idx="81">
                  <c:v>41282</c:v>
                </c:pt>
                <c:pt idx="82">
                  <c:v>41283</c:v>
                </c:pt>
                <c:pt idx="83">
                  <c:v>41284</c:v>
                </c:pt>
                <c:pt idx="84">
                  <c:v>41285</c:v>
                </c:pt>
                <c:pt idx="85">
                  <c:v>41288</c:v>
                </c:pt>
                <c:pt idx="86">
                  <c:v>41289</c:v>
                </c:pt>
                <c:pt idx="87">
                  <c:v>41290</c:v>
                </c:pt>
                <c:pt idx="88">
                  <c:v>41291</c:v>
                </c:pt>
                <c:pt idx="89">
                  <c:v>41292</c:v>
                </c:pt>
                <c:pt idx="90">
                  <c:v>41295</c:v>
                </c:pt>
                <c:pt idx="91">
                  <c:v>41296</c:v>
                </c:pt>
                <c:pt idx="92">
                  <c:v>41297</c:v>
                </c:pt>
                <c:pt idx="93">
                  <c:v>41298</c:v>
                </c:pt>
                <c:pt idx="94">
                  <c:v>41299</c:v>
                </c:pt>
                <c:pt idx="95">
                  <c:v>41302</c:v>
                </c:pt>
                <c:pt idx="96">
                  <c:v>41303</c:v>
                </c:pt>
                <c:pt idx="97">
                  <c:v>41304</c:v>
                </c:pt>
                <c:pt idx="98">
                  <c:v>41305</c:v>
                </c:pt>
                <c:pt idx="99">
                  <c:v>41306</c:v>
                </c:pt>
                <c:pt idx="100">
                  <c:v>41309</c:v>
                </c:pt>
                <c:pt idx="101">
                  <c:v>41310</c:v>
                </c:pt>
                <c:pt idx="102">
                  <c:v>41311</c:v>
                </c:pt>
                <c:pt idx="103">
                  <c:v>41312</c:v>
                </c:pt>
                <c:pt idx="104">
                  <c:v>41313</c:v>
                </c:pt>
                <c:pt idx="105">
                  <c:v>41316</c:v>
                </c:pt>
                <c:pt idx="106">
                  <c:v>41317</c:v>
                </c:pt>
                <c:pt idx="107">
                  <c:v>41318</c:v>
                </c:pt>
                <c:pt idx="108">
                  <c:v>41319</c:v>
                </c:pt>
                <c:pt idx="109">
                  <c:v>41320</c:v>
                </c:pt>
                <c:pt idx="110">
                  <c:v>41323</c:v>
                </c:pt>
                <c:pt idx="111">
                  <c:v>41324</c:v>
                </c:pt>
                <c:pt idx="112">
                  <c:v>41325</c:v>
                </c:pt>
                <c:pt idx="113">
                  <c:v>41326</c:v>
                </c:pt>
                <c:pt idx="114">
                  <c:v>41327</c:v>
                </c:pt>
                <c:pt idx="115">
                  <c:v>41330</c:v>
                </c:pt>
                <c:pt idx="116">
                  <c:v>41331</c:v>
                </c:pt>
                <c:pt idx="117">
                  <c:v>41332</c:v>
                </c:pt>
                <c:pt idx="118">
                  <c:v>41333</c:v>
                </c:pt>
                <c:pt idx="119">
                  <c:v>41334</c:v>
                </c:pt>
                <c:pt idx="120">
                  <c:v>41337</c:v>
                </c:pt>
                <c:pt idx="121">
                  <c:v>41338</c:v>
                </c:pt>
                <c:pt idx="122">
                  <c:v>41339</c:v>
                </c:pt>
                <c:pt idx="123">
                  <c:v>41340</c:v>
                </c:pt>
                <c:pt idx="124">
                  <c:v>41341</c:v>
                </c:pt>
                <c:pt idx="125">
                  <c:v>41344</c:v>
                </c:pt>
                <c:pt idx="126">
                  <c:v>41345</c:v>
                </c:pt>
                <c:pt idx="127">
                  <c:v>41346</c:v>
                </c:pt>
                <c:pt idx="128">
                  <c:v>41347</c:v>
                </c:pt>
                <c:pt idx="129">
                  <c:v>41348</c:v>
                </c:pt>
                <c:pt idx="130">
                  <c:v>41351</c:v>
                </c:pt>
                <c:pt idx="131">
                  <c:v>41352</c:v>
                </c:pt>
                <c:pt idx="132">
                  <c:v>41353</c:v>
                </c:pt>
                <c:pt idx="133">
                  <c:v>41354</c:v>
                </c:pt>
                <c:pt idx="134">
                  <c:v>41355</c:v>
                </c:pt>
                <c:pt idx="135">
                  <c:v>41358</c:v>
                </c:pt>
                <c:pt idx="136">
                  <c:v>41359</c:v>
                </c:pt>
                <c:pt idx="137">
                  <c:v>41360</c:v>
                </c:pt>
                <c:pt idx="138">
                  <c:v>41361</c:v>
                </c:pt>
                <c:pt idx="139">
                  <c:v>41366</c:v>
                </c:pt>
                <c:pt idx="140">
                  <c:v>41367</c:v>
                </c:pt>
                <c:pt idx="141">
                  <c:v>41368</c:v>
                </c:pt>
                <c:pt idx="142">
                  <c:v>41369</c:v>
                </c:pt>
                <c:pt idx="143">
                  <c:v>41372</c:v>
                </c:pt>
                <c:pt idx="144">
                  <c:v>41373</c:v>
                </c:pt>
                <c:pt idx="145">
                  <c:v>41374</c:v>
                </c:pt>
                <c:pt idx="146">
                  <c:v>41375</c:v>
                </c:pt>
                <c:pt idx="147">
                  <c:v>41376</c:v>
                </c:pt>
                <c:pt idx="148">
                  <c:v>41379</c:v>
                </c:pt>
                <c:pt idx="149">
                  <c:v>41380</c:v>
                </c:pt>
                <c:pt idx="150">
                  <c:v>41381</c:v>
                </c:pt>
                <c:pt idx="151">
                  <c:v>41382</c:v>
                </c:pt>
                <c:pt idx="152">
                  <c:v>41383</c:v>
                </c:pt>
                <c:pt idx="153">
                  <c:v>41386</c:v>
                </c:pt>
                <c:pt idx="154">
                  <c:v>41387</c:v>
                </c:pt>
                <c:pt idx="155">
                  <c:v>41388</c:v>
                </c:pt>
                <c:pt idx="156">
                  <c:v>41389</c:v>
                </c:pt>
                <c:pt idx="157">
                  <c:v>41390</c:v>
                </c:pt>
                <c:pt idx="158">
                  <c:v>41393</c:v>
                </c:pt>
                <c:pt idx="159">
                  <c:v>41394</c:v>
                </c:pt>
                <c:pt idx="160">
                  <c:v>41395</c:v>
                </c:pt>
                <c:pt idx="161">
                  <c:v>41396</c:v>
                </c:pt>
                <c:pt idx="162">
                  <c:v>41397</c:v>
                </c:pt>
                <c:pt idx="163">
                  <c:v>41400</c:v>
                </c:pt>
                <c:pt idx="164">
                  <c:v>41401</c:v>
                </c:pt>
                <c:pt idx="165">
                  <c:v>41402</c:v>
                </c:pt>
                <c:pt idx="166">
                  <c:v>41403</c:v>
                </c:pt>
                <c:pt idx="167">
                  <c:v>41404</c:v>
                </c:pt>
                <c:pt idx="168">
                  <c:v>41407</c:v>
                </c:pt>
                <c:pt idx="169">
                  <c:v>41408</c:v>
                </c:pt>
                <c:pt idx="170">
                  <c:v>41409</c:v>
                </c:pt>
                <c:pt idx="171">
                  <c:v>41410</c:v>
                </c:pt>
                <c:pt idx="172">
                  <c:v>41411</c:v>
                </c:pt>
                <c:pt idx="173">
                  <c:v>41414</c:v>
                </c:pt>
                <c:pt idx="174">
                  <c:v>41415</c:v>
                </c:pt>
                <c:pt idx="175">
                  <c:v>41416</c:v>
                </c:pt>
                <c:pt idx="176">
                  <c:v>41417</c:v>
                </c:pt>
                <c:pt idx="177">
                  <c:v>41418</c:v>
                </c:pt>
                <c:pt idx="178">
                  <c:v>41421</c:v>
                </c:pt>
                <c:pt idx="179">
                  <c:v>41422</c:v>
                </c:pt>
                <c:pt idx="180">
                  <c:v>41423</c:v>
                </c:pt>
                <c:pt idx="181">
                  <c:v>41424</c:v>
                </c:pt>
                <c:pt idx="182">
                  <c:v>41425</c:v>
                </c:pt>
                <c:pt idx="183">
                  <c:v>41428</c:v>
                </c:pt>
                <c:pt idx="184">
                  <c:v>41429</c:v>
                </c:pt>
                <c:pt idx="185">
                  <c:v>41430</c:v>
                </c:pt>
                <c:pt idx="186">
                  <c:v>41431</c:v>
                </c:pt>
                <c:pt idx="187">
                  <c:v>41432</c:v>
                </c:pt>
                <c:pt idx="188">
                  <c:v>41435</c:v>
                </c:pt>
                <c:pt idx="189">
                  <c:v>41436</c:v>
                </c:pt>
                <c:pt idx="190">
                  <c:v>41437</c:v>
                </c:pt>
                <c:pt idx="191">
                  <c:v>41438</c:v>
                </c:pt>
                <c:pt idx="192">
                  <c:v>41439</c:v>
                </c:pt>
                <c:pt idx="193">
                  <c:v>41442</c:v>
                </c:pt>
                <c:pt idx="194">
                  <c:v>41443</c:v>
                </c:pt>
                <c:pt idx="195">
                  <c:v>41444</c:v>
                </c:pt>
                <c:pt idx="196">
                  <c:v>41445</c:v>
                </c:pt>
                <c:pt idx="197">
                  <c:v>41446</c:v>
                </c:pt>
                <c:pt idx="198">
                  <c:v>41449</c:v>
                </c:pt>
                <c:pt idx="199">
                  <c:v>41450</c:v>
                </c:pt>
                <c:pt idx="200">
                  <c:v>41451</c:v>
                </c:pt>
                <c:pt idx="201">
                  <c:v>41452</c:v>
                </c:pt>
                <c:pt idx="202">
                  <c:v>41453</c:v>
                </c:pt>
                <c:pt idx="203">
                  <c:v>41456</c:v>
                </c:pt>
                <c:pt idx="204">
                  <c:v>41457</c:v>
                </c:pt>
                <c:pt idx="205">
                  <c:v>41458</c:v>
                </c:pt>
                <c:pt idx="206">
                  <c:v>41459</c:v>
                </c:pt>
                <c:pt idx="207">
                  <c:v>41460</c:v>
                </c:pt>
                <c:pt idx="208">
                  <c:v>41463</c:v>
                </c:pt>
                <c:pt idx="209">
                  <c:v>41464</c:v>
                </c:pt>
                <c:pt idx="210">
                  <c:v>41465</c:v>
                </c:pt>
                <c:pt idx="211">
                  <c:v>41466</c:v>
                </c:pt>
                <c:pt idx="212">
                  <c:v>41467</c:v>
                </c:pt>
                <c:pt idx="213">
                  <c:v>41470</c:v>
                </c:pt>
                <c:pt idx="214">
                  <c:v>41471</c:v>
                </c:pt>
                <c:pt idx="215">
                  <c:v>41472</c:v>
                </c:pt>
                <c:pt idx="216">
                  <c:v>41473</c:v>
                </c:pt>
                <c:pt idx="217">
                  <c:v>41474</c:v>
                </c:pt>
                <c:pt idx="218">
                  <c:v>41477</c:v>
                </c:pt>
                <c:pt idx="219">
                  <c:v>41478</c:v>
                </c:pt>
                <c:pt idx="220">
                  <c:v>41479</c:v>
                </c:pt>
                <c:pt idx="221">
                  <c:v>41480</c:v>
                </c:pt>
                <c:pt idx="222">
                  <c:v>41481</c:v>
                </c:pt>
                <c:pt idx="223">
                  <c:v>41484</c:v>
                </c:pt>
                <c:pt idx="224">
                  <c:v>41485</c:v>
                </c:pt>
                <c:pt idx="225">
                  <c:v>41486</c:v>
                </c:pt>
                <c:pt idx="226">
                  <c:v>41487</c:v>
                </c:pt>
                <c:pt idx="227">
                  <c:v>41488</c:v>
                </c:pt>
                <c:pt idx="228">
                  <c:v>41491</c:v>
                </c:pt>
                <c:pt idx="229">
                  <c:v>41492</c:v>
                </c:pt>
                <c:pt idx="230">
                  <c:v>41493</c:v>
                </c:pt>
                <c:pt idx="231">
                  <c:v>41494</c:v>
                </c:pt>
                <c:pt idx="232">
                  <c:v>41495</c:v>
                </c:pt>
                <c:pt idx="233">
                  <c:v>41498</c:v>
                </c:pt>
                <c:pt idx="234">
                  <c:v>41499</c:v>
                </c:pt>
                <c:pt idx="235">
                  <c:v>41500</c:v>
                </c:pt>
                <c:pt idx="236">
                  <c:v>41501</c:v>
                </c:pt>
                <c:pt idx="237">
                  <c:v>41502</c:v>
                </c:pt>
                <c:pt idx="238">
                  <c:v>41505</c:v>
                </c:pt>
                <c:pt idx="239">
                  <c:v>41506</c:v>
                </c:pt>
                <c:pt idx="240">
                  <c:v>41507</c:v>
                </c:pt>
                <c:pt idx="241">
                  <c:v>41508</c:v>
                </c:pt>
                <c:pt idx="242">
                  <c:v>41509</c:v>
                </c:pt>
                <c:pt idx="243">
                  <c:v>41512</c:v>
                </c:pt>
                <c:pt idx="244">
                  <c:v>41513</c:v>
                </c:pt>
                <c:pt idx="245">
                  <c:v>41514</c:v>
                </c:pt>
                <c:pt idx="246">
                  <c:v>41515</c:v>
                </c:pt>
                <c:pt idx="247">
                  <c:v>41516</c:v>
                </c:pt>
                <c:pt idx="248">
                  <c:v>41519</c:v>
                </c:pt>
                <c:pt idx="249">
                  <c:v>41520</c:v>
                </c:pt>
                <c:pt idx="250">
                  <c:v>41521</c:v>
                </c:pt>
                <c:pt idx="251">
                  <c:v>41522</c:v>
                </c:pt>
                <c:pt idx="252">
                  <c:v>41523</c:v>
                </c:pt>
                <c:pt idx="253">
                  <c:v>41526</c:v>
                </c:pt>
                <c:pt idx="254">
                  <c:v>41527</c:v>
                </c:pt>
                <c:pt idx="255">
                  <c:v>41528</c:v>
                </c:pt>
                <c:pt idx="256">
                  <c:v>41529</c:v>
                </c:pt>
                <c:pt idx="257">
                  <c:v>41530</c:v>
                </c:pt>
                <c:pt idx="258">
                  <c:v>41533</c:v>
                </c:pt>
                <c:pt idx="259">
                  <c:v>41534</c:v>
                </c:pt>
                <c:pt idx="260">
                  <c:v>41535</c:v>
                </c:pt>
                <c:pt idx="261">
                  <c:v>41536</c:v>
                </c:pt>
                <c:pt idx="262">
                  <c:v>41537</c:v>
                </c:pt>
                <c:pt idx="263">
                  <c:v>41540</c:v>
                </c:pt>
                <c:pt idx="264">
                  <c:v>41541</c:v>
                </c:pt>
                <c:pt idx="265">
                  <c:v>41542</c:v>
                </c:pt>
                <c:pt idx="266">
                  <c:v>41543</c:v>
                </c:pt>
                <c:pt idx="267">
                  <c:v>41544</c:v>
                </c:pt>
                <c:pt idx="268">
                  <c:v>41547</c:v>
                </c:pt>
                <c:pt idx="269">
                  <c:v>41548</c:v>
                </c:pt>
                <c:pt idx="270">
                  <c:v>41549</c:v>
                </c:pt>
                <c:pt idx="271">
                  <c:v>41550</c:v>
                </c:pt>
                <c:pt idx="272">
                  <c:v>41551</c:v>
                </c:pt>
                <c:pt idx="273">
                  <c:v>41554</c:v>
                </c:pt>
                <c:pt idx="274">
                  <c:v>41555</c:v>
                </c:pt>
                <c:pt idx="275">
                  <c:v>41556</c:v>
                </c:pt>
                <c:pt idx="276">
                  <c:v>41557</c:v>
                </c:pt>
                <c:pt idx="277">
                  <c:v>41558</c:v>
                </c:pt>
                <c:pt idx="278">
                  <c:v>41561</c:v>
                </c:pt>
                <c:pt idx="279">
                  <c:v>41562</c:v>
                </c:pt>
                <c:pt idx="280">
                  <c:v>41563</c:v>
                </c:pt>
                <c:pt idx="281">
                  <c:v>41564</c:v>
                </c:pt>
                <c:pt idx="282">
                  <c:v>41565</c:v>
                </c:pt>
                <c:pt idx="283">
                  <c:v>41568</c:v>
                </c:pt>
                <c:pt idx="284">
                  <c:v>41569</c:v>
                </c:pt>
                <c:pt idx="285">
                  <c:v>41570</c:v>
                </c:pt>
                <c:pt idx="286">
                  <c:v>41571</c:v>
                </c:pt>
                <c:pt idx="287">
                  <c:v>41572</c:v>
                </c:pt>
                <c:pt idx="288">
                  <c:v>41575</c:v>
                </c:pt>
                <c:pt idx="289">
                  <c:v>41576</c:v>
                </c:pt>
                <c:pt idx="290">
                  <c:v>41577</c:v>
                </c:pt>
                <c:pt idx="291">
                  <c:v>41578</c:v>
                </c:pt>
                <c:pt idx="292">
                  <c:v>41579</c:v>
                </c:pt>
                <c:pt idx="293">
                  <c:v>41582</c:v>
                </c:pt>
                <c:pt idx="294">
                  <c:v>41583</c:v>
                </c:pt>
                <c:pt idx="295">
                  <c:v>41584</c:v>
                </c:pt>
                <c:pt idx="296">
                  <c:v>41585</c:v>
                </c:pt>
                <c:pt idx="297">
                  <c:v>41586</c:v>
                </c:pt>
                <c:pt idx="298">
                  <c:v>41589</c:v>
                </c:pt>
                <c:pt idx="299">
                  <c:v>41590</c:v>
                </c:pt>
                <c:pt idx="300">
                  <c:v>41591</c:v>
                </c:pt>
                <c:pt idx="301">
                  <c:v>41592</c:v>
                </c:pt>
                <c:pt idx="302">
                  <c:v>41593</c:v>
                </c:pt>
                <c:pt idx="303">
                  <c:v>41596</c:v>
                </c:pt>
                <c:pt idx="304">
                  <c:v>41597</c:v>
                </c:pt>
                <c:pt idx="305">
                  <c:v>41598</c:v>
                </c:pt>
                <c:pt idx="306">
                  <c:v>41599</c:v>
                </c:pt>
                <c:pt idx="307">
                  <c:v>41600</c:v>
                </c:pt>
                <c:pt idx="308">
                  <c:v>41603</c:v>
                </c:pt>
                <c:pt idx="309">
                  <c:v>41604</c:v>
                </c:pt>
                <c:pt idx="310">
                  <c:v>41605</c:v>
                </c:pt>
                <c:pt idx="311">
                  <c:v>41606</c:v>
                </c:pt>
                <c:pt idx="312">
                  <c:v>41607</c:v>
                </c:pt>
                <c:pt idx="313">
                  <c:v>41610</c:v>
                </c:pt>
                <c:pt idx="314">
                  <c:v>41611</c:v>
                </c:pt>
                <c:pt idx="315">
                  <c:v>41612</c:v>
                </c:pt>
                <c:pt idx="316">
                  <c:v>41613</c:v>
                </c:pt>
                <c:pt idx="317">
                  <c:v>41614</c:v>
                </c:pt>
                <c:pt idx="318">
                  <c:v>41617</c:v>
                </c:pt>
                <c:pt idx="319">
                  <c:v>41618</c:v>
                </c:pt>
                <c:pt idx="320">
                  <c:v>41619</c:v>
                </c:pt>
                <c:pt idx="321">
                  <c:v>41620</c:v>
                </c:pt>
                <c:pt idx="322">
                  <c:v>41621</c:v>
                </c:pt>
                <c:pt idx="323">
                  <c:v>41624</c:v>
                </c:pt>
                <c:pt idx="324">
                  <c:v>41625</c:v>
                </c:pt>
                <c:pt idx="325">
                  <c:v>41626</c:v>
                </c:pt>
                <c:pt idx="326">
                  <c:v>41627</c:v>
                </c:pt>
                <c:pt idx="327">
                  <c:v>41628</c:v>
                </c:pt>
                <c:pt idx="328">
                  <c:v>41631</c:v>
                </c:pt>
                <c:pt idx="329">
                  <c:v>41632</c:v>
                </c:pt>
                <c:pt idx="330">
                  <c:v>41635</c:v>
                </c:pt>
                <c:pt idx="331">
                  <c:v>41638</c:v>
                </c:pt>
                <c:pt idx="332">
                  <c:v>41639</c:v>
                </c:pt>
                <c:pt idx="333">
                  <c:v>41641</c:v>
                </c:pt>
                <c:pt idx="334">
                  <c:v>41642</c:v>
                </c:pt>
                <c:pt idx="335">
                  <c:v>41645</c:v>
                </c:pt>
                <c:pt idx="336">
                  <c:v>41646</c:v>
                </c:pt>
                <c:pt idx="337">
                  <c:v>41647</c:v>
                </c:pt>
                <c:pt idx="338">
                  <c:v>41648</c:v>
                </c:pt>
                <c:pt idx="339">
                  <c:v>41649</c:v>
                </c:pt>
                <c:pt idx="340">
                  <c:v>41652</c:v>
                </c:pt>
                <c:pt idx="341">
                  <c:v>41653</c:v>
                </c:pt>
                <c:pt idx="342">
                  <c:v>41654</c:v>
                </c:pt>
                <c:pt idx="343">
                  <c:v>41655</c:v>
                </c:pt>
                <c:pt idx="344">
                  <c:v>41656</c:v>
                </c:pt>
                <c:pt idx="345">
                  <c:v>41659</c:v>
                </c:pt>
                <c:pt idx="346">
                  <c:v>41660</c:v>
                </c:pt>
                <c:pt idx="347">
                  <c:v>41661</c:v>
                </c:pt>
                <c:pt idx="348">
                  <c:v>41662</c:v>
                </c:pt>
                <c:pt idx="349">
                  <c:v>41663</c:v>
                </c:pt>
                <c:pt idx="350">
                  <c:v>41666</c:v>
                </c:pt>
                <c:pt idx="351">
                  <c:v>41667</c:v>
                </c:pt>
                <c:pt idx="352">
                  <c:v>41668</c:v>
                </c:pt>
                <c:pt idx="353">
                  <c:v>41669</c:v>
                </c:pt>
                <c:pt idx="354">
                  <c:v>41670</c:v>
                </c:pt>
                <c:pt idx="355">
                  <c:v>41673</c:v>
                </c:pt>
                <c:pt idx="356">
                  <c:v>41674</c:v>
                </c:pt>
                <c:pt idx="357">
                  <c:v>41675</c:v>
                </c:pt>
                <c:pt idx="358">
                  <c:v>41676</c:v>
                </c:pt>
                <c:pt idx="359">
                  <c:v>41677</c:v>
                </c:pt>
                <c:pt idx="360">
                  <c:v>41680</c:v>
                </c:pt>
                <c:pt idx="361">
                  <c:v>41681</c:v>
                </c:pt>
                <c:pt idx="362">
                  <c:v>41682</c:v>
                </c:pt>
                <c:pt idx="363">
                  <c:v>41683</c:v>
                </c:pt>
                <c:pt idx="364">
                  <c:v>41684</c:v>
                </c:pt>
                <c:pt idx="365">
                  <c:v>41687</c:v>
                </c:pt>
                <c:pt idx="366">
                  <c:v>41688</c:v>
                </c:pt>
                <c:pt idx="367">
                  <c:v>41689</c:v>
                </c:pt>
                <c:pt idx="368">
                  <c:v>41690</c:v>
                </c:pt>
                <c:pt idx="369">
                  <c:v>41691</c:v>
                </c:pt>
                <c:pt idx="370">
                  <c:v>41694</c:v>
                </c:pt>
                <c:pt idx="371">
                  <c:v>41695</c:v>
                </c:pt>
                <c:pt idx="372">
                  <c:v>41696</c:v>
                </c:pt>
                <c:pt idx="373">
                  <c:v>41697</c:v>
                </c:pt>
                <c:pt idx="374">
                  <c:v>41698</c:v>
                </c:pt>
                <c:pt idx="375">
                  <c:v>41701</c:v>
                </c:pt>
                <c:pt idx="376">
                  <c:v>41702</c:v>
                </c:pt>
                <c:pt idx="377">
                  <c:v>41703</c:v>
                </c:pt>
                <c:pt idx="378">
                  <c:v>41704</c:v>
                </c:pt>
                <c:pt idx="379">
                  <c:v>41705</c:v>
                </c:pt>
                <c:pt idx="380">
                  <c:v>41708</c:v>
                </c:pt>
                <c:pt idx="381">
                  <c:v>41709</c:v>
                </c:pt>
                <c:pt idx="382">
                  <c:v>41710</c:v>
                </c:pt>
                <c:pt idx="383">
                  <c:v>41711</c:v>
                </c:pt>
                <c:pt idx="384">
                  <c:v>41712</c:v>
                </c:pt>
                <c:pt idx="385">
                  <c:v>41715</c:v>
                </c:pt>
                <c:pt idx="386">
                  <c:v>41716</c:v>
                </c:pt>
                <c:pt idx="387">
                  <c:v>41717</c:v>
                </c:pt>
                <c:pt idx="388">
                  <c:v>41718</c:v>
                </c:pt>
                <c:pt idx="389">
                  <c:v>41719</c:v>
                </c:pt>
                <c:pt idx="390">
                  <c:v>41722</c:v>
                </c:pt>
                <c:pt idx="391">
                  <c:v>41723</c:v>
                </c:pt>
                <c:pt idx="392">
                  <c:v>41724</c:v>
                </c:pt>
                <c:pt idx="393">
                  <c:v>41725</c:v>
                </c:pt>
                <c:pt idx="394">
                  <c:v>41726</c:v>
                </c:pt>
                <c:pt idx="395">
                  <c:v>41729</c:v>
                </c:pt>
                <c:pt idx="396">
                  <c:v>41730</c:v>
                </c:pt>
                <c:pt idx="397">
                  <c:v>41731</c:v>
                </c:pt>
                <c:pt idx="398">
                  <c:v>41732</c:v>
                </c:pt>
                <c:pt idx="399">
                  <c:v>41733</c:v>
                </c:pt>
                <c:pt idx="400">
                  <c:v>41736</c:v>
                </c:pt>
                <c:pt idx="401">
                  <c:v>41737</c:v>
                </c:pt>
                <c:pt idx="402">
                  <c:v>41738</c:v>
                </c:pt>
                <c:pt idx="403">
                  <c:v>41739</c:v>
                </c:pt>
                <c:pt idx="404">
                  <c:v>41740</c:v>
                </c:pt>
                <c:pt idx="405">
                  <c:v>41743</c:v>
                </c:pt>
                <c:pt idx="406">
                  <c:v>41744</c:v>
                </c:pt>
                <c:pt idx="407">
                  <c:v>41745</c:v>
                </c:pt>
                <c:pt idx="408">
                  <c:v>41746</c:v>
                </c:pt>
                <c:pt idx="409">
                  <c:v>41751</c:v>
                </c:pt>
                <c:pt idx="410">
                  <c:v>41752</c:v>
                </c:pt>
                <c:pt idx="411">
                  <c:v>41753</c:v>
                </c:pt>
                <c:pt idx="412">
                  <c:v>41754</c:v>
                </c:pt>
                <c:pt idx="413">
                  <c:v>41757</c:v>
                </c:pt>
                <c:pt idx="414">
                  <c:v>41758</c:v>
                </c:pt>
                <c:pt idx="415">
                  <c:v>41759</c:v>
                </c:pt>
                <c:pt idx="416">
                  <c:v>41760</c:v>
                </c:pt>
                <c:pt idx="417">
                  <c:v>41761</c:v>
                </c:pt>
                <c:pt idx="418">
                  <c:v>41764</c:v>
                </c:pt>
                <c:pt idx="419">
                  <c:v>41765</c:v>
                </c:pt>
                <c:pt idx="420">
                  <c:v>41766</c:v>
                </c:pt>
                <c:pt idx="421">
                  <c:v>41767</c:v>
                </c:pt>
                <c:pt idx="422">
                  <c:v>41768</c:v>
                </c:pt>
                <c:pt idx="423">
                  <c:v>41771</c:v>
                </c:pt>
                <c:pt idx="424">
                  <c:v>41772</c:v>
                </c:pt>
                <c:pt idx="425">
                  <c:v>41773</c:v>
                </c:pt>
                <c:pt idx="426">
                  <c:v>41774</c:v>
                </c:pt>
                <c:pt idx="427">
                  <c:v>41775</c:v>
                </c:pt>
                <c:pt idx="428">
                  <c:v>41778</c:v>
                </c:pt>
                <c:pt idx="429">
                  <c:v>41779</c:v>
                </c:pt>
                <c:pt idx="430">
                  <c:v>41780</c:v>
                </c:pt>
                <c:pt idx="431">
                  <c:v>41781</c:v>
                </c:pt>
                <c:pt idx="432">
                  <c:v>41782</c:v>
                </c:pt>
                <c:pt idx="433">
                  <c:v>41785</c:v>
                </c:pt>
                <c:pt idx="434">
                  <c:v>41786</c:v>
                </c:pt>
                <c:pt idx="435">
                  <c:v>41787</c:v>
                </c:pt>
                <c:pt idx="436">
                  <c:v>41788</c:v>
                </c:pt>
                <c:pt idx="437">
                  <c:v>41789</c:v>
                </c:pt>
                <c:pt idx="438">
                  <c:v>41792</c:v>
                </c:pt>
                <c:pt idx="439">
                  <c:v>41793</c:v>
                </c:pt>
                <c:pt idx="440">
                  <c:v>41794</c:v>
                </c:pt>
                <c:pt idx="441">
                  <c:v>41795</c:v>
                </c:pt>
                <c:pt idx="442">
                  <c:v>41796</c:v>
                </c:pt>
                <c:pt idx="443">
                  <c:v>41799</c:v>
                </c:pt>
                <c:pt idx="444">
                  <c:v>41800</c:v>
                </c:pt>
                <c:pt idx="445">
                  <c:v>41801</c:v>
                </c:pt>
                <c:pt idx="446">
                  <c:v>41802</c:v>
                </c:pt>
                <c:pt idx="447">
                  <c:v>41803</c:v>
                </c:pt>
                <c:pt idx="448">
                  <c:v>41806</c:v>
                </c:pt>
                <c:pt idx="449">
                  <c:v>41807</c:v>
                </c:pt>
                <c:pt idx="450">
                  <c:v>41808</c:v>
                </c:pt>
                <c:pt idx="451">
                  <c:v>41809</c:v>
                </c:pt>
                <c:pt idx="452">
                  <c:v>41810</c:v>
                </c:pt>
                <c:pt idx="453">
                  <c:v>41813</c:v>
                </c:pt>
                <c:pt idx="454">
                  <c:v>41814</c:v>
                </c:pt>
                <c:pt idx="455">
                  <c:v>41815</c:v>
                </c:pt>
                <c:pt idx="456">
                  <c:v>41816</c:v>
                </c:pt>
                <c:pt idx="457">
                  <c:v>41817</c:v>
                </c:pt>
                <c:pt idx="458">
                  <c:v>41820</c:v>
                </c:pt>
                <c:pt idx="459">
                  <c:v>41821</c:v>
                </c:pt>
                <c:pt idx="460">
                  <c:v>41822</c:v>
                </c:pt>
                <c:pt idx="461">
                  <c:v>41823</c:v>
                </c:pt>
                <c:pt idx="462">
                  <c:v>41824</c:v>
                </c:pt>
                <c:pt idx="463">
                  <c:v>41827</c:v>
                </c:pt>
                <c:pt idx="464">
                  <c:v>41828</c:v>
                </c:pt>
                <c:pt idx="465">
                  <c:v>41829</c:v>
                </c:pt>
                <c:pt idx="466">
                  <c:v>41830</c:v>
                </c:pt>
                <c:pt idx="467">
                  <c:v>41831</c:v>
                </c:pt>
                <c:pt idx="468">
                  <c:v>41834</c:v>
                </c:pt>
                <c:pt idx="469">
                  <c:v>41835</c:v>
                </c:pt>
                <c:pt idx="470">
                  <c:v>41836</c:v>
                </c:pt>
                <c:pt idx="471">
                  <c:v>41837</c:v>
                </c:pt>
                <c:pt idx="472">
                  <c:v>41838</c:v>
                </c:pt>
                <c:pt idx="473">
                  <c:v>41841</c:v>
                </c:pt>
                <c:pt idx="474">
                  <c:v>41842</c:v>
                </c:pt>
                <c:pt idx="475">
                  <c:v>41843</c:v>
                </c:pt>
                <c:pt idx="476">
                  <c:v>41844</c:v>
                </c:pt>
                <c:pt idx="477">
                  <c:v>41845</c:v>
                </c:pt>
                <c:pt idx="478">
                  <c:v>41848</c:v>
                </c:pt>
                <c:pt idx="479">
                  <c:v>41849</c:v>
                </c:pt>
                <c:pt idx="480">
                  <c:v>41850</c:v>
                </c:pt>
                <c:pt idx="481">
                  <c:v>41851</c:v>
                </c:pt>
                <c:pt idx="482">
                  <c:v>41852</c:v>
                </c:pt>
                <c:pt idx="483">
                  <c:v>41855</c:v>
                </c:pt>
                <c:pt idx="484">
                  <c:v>41856</c:v>
                </c:pt>
                <c:pt idx="485">
                  <c:v>41857</c:v>
                </c:pt>
                <c:pt idx="486">
                  <c:v>41858</c:v>
                </c:pt>
                <c:pt idx="487">
                  <c:v>41859</c:v>
                </c:pt>
                <c:pt idx="488">
                  <c:v>41862</c:v>
                </c:pt>
                <c:pt idx="489">
                  <c:v>41863</c:v>
                </c:pt>
                <c:pt idx="490">
                  <c:v>41864</c:v>
                </c:pt>
                <c:pt idx="491">
                  <c:v>41865</c:v>
                </c:pt>
                <c:pt idx="492">
                  <c:v>41866</c:v>
                </c:pt>
                <c:pt idx="493">
                  <c:v>41869</c:v>
                </c:pt>
                <c:pt idx="494">
                  <c:v>41870</c:v>
                </c:pt>
                <c:pt idx="495">
                  <c:v>41871</c:v>
                </c:pt>
                <c:pt idx="496">
                  <c:v>41872</c:v>
                </c:pt>
                <c:pt idx="497">
                  <c:v>41873</c:v>
                </c:pt>
                <c:pt idx="498">
                  <c:v>41876</c:v>
                </c:pt>
                <c:pt idx="499">
                  <c:v>41877</c:v>
                </c:pt>
                <c:pt idx="500">
                  <c:v>41878</c:v>
                </c:pt>
                <c:pt idx="501">
                  <c:v>41879</c:v>
                </c:pt>
                <c:pt idx="502">
                  <c:v>41880</c:v>
                </c:pt>
                <c:pt idx="503">
                  <c:v>41883</c:v>
                </c:pt>
                <c:pt idx="504">
                  <c:v>41884</c:v>
                </c:pt>
                <c:pt idx="505">
                  <c:v>41885</c:v>
                </c:pt>
                <c:pt idx="506">
                  <c:v>41886</c:v>
                </c:pt>
                <c:pt idx="507">
                  <c:v>41887</c:v>
                </c:pt>
                <c:pt idx="508">
                  <c:v>41890</c:v>
                </c:pt>
                <c:pt idx="509">
                  <c:v>41891</c:v>
                </c:pt>
                <c:pt idx="510">
                  <c:v>41892</c:v>
                </c:pt>
                <c:pt idx="511">
                  <c:v>41893</c:v>
                </c:pt>
                <c:pt idx="512">
                  <c:v>41894</c:v>
                </c:pt>
                <c:pt idx="513">
                  <c:v>41897</c:v>
                </c:pt>
                <c:pt idx="514">
                  <c:v>41898</c:v>
                </c:pt>
                <c:pt idx="515">
                  <c:v>41899</c:v>
                </c:pt>
                <c:pt idx="516">
                  <c:v>41900</c:v>
                </c:pt>
                <c:pt idx="517">
                  <c:v>41901</c:v>
                </c:pt>
                <c:pt idx="518">
                  <c:v>41904</c:v>
                </c:pt>
                <c:pt idx="519">
                  <c:v>41905</c:v>
                </c:pt>
                <c:pt idx="520">
                  <c:v>41906</c:v>
                </c:pt>
                <c:pt idx="521">
                  <c:v>41907</c:v>
                </c:pt>
                <c:pt idx="522">
                  <c:v>41908</c:v>
                </c:pt>
                <c:pt idx="523">
                  <c:v>41911</c:v>
                </c:pt>
                <c:pt idx="524">
                  <c:v>41912</c:v>
                </c:pt>
                <c:pt idx="525">
                  <c:v>41913</c:v>
                </c:pt>
                <c:pt idx="526">
                  <c:v>41914</c:v>
                </c:pt>
                <c:pt idx="527">
                  <c:v>41915</c:v>
                </c:pt>
                <c:pt idx="528">
                  <c:v>41918</c:v>
                </c:pt>
                <c:pt idx="529">
                  <c:v>41919</c:v>
                </c:pt>
                <c:pt idx="530">
                  <c:v>41920</c:v>
                </c:pt>
                <c:pt idx="531">
                  <c:v>41921</c:v>
                </c:pt>
                <c:pt idx="532">
                  <c:v>41922</c:v>
                </c:pt>
                <c:pt idx="533">
                  <c:v>41925</c:v>
                </c:pt>
                <c:pt idx="534">
                  <c:v>41926</c:v>
                </c:pt>
                <c:pt idx="535">
                  <c:v>41927</c:v>
                </c:pt>
                <c:pt idx="536">
                  <c:v>41928</c:v>
                </c:pt>
                <c:pt idx="537">
                  <c:v>41929</c:v>
                </c:pt>
                <c:pt idx="538">
                  <c:v>41932</c:v>
                </c:pt>
                <c:pt idx="539">
                  <c:v>41933</c:v>
                </c:pt>
                <c:pt idx="540">
                  <c:v>41934</c:v>
                </c:pt>
                <c:pt idx="541">
                  <c:v>41935</c:v>
                </c:pt>
                <c:pt idx="542">
                  <c:v>41936</c:v>
                </c:pt>
                <c:pt idx="543">
                  <c:v>41939</c:v>
                </c:pt>
                <c:pt idx="544">
                  <c:v>41940</c:v>
                </c:pt>
                <c:pt idx="545">
                  <c:v>41941</c:v>
                </c:pt>
                <c:pt idx="546">
                  <c:v>41942</c:v>
                </c:pt>
                <c:pt idx="547">
                  <c:v>41943</c:v>
                </c:pt>
                <c:pt idx="548">
                  <c:v>41946</c:v>
                </c:pt>
                <c:pt idx="549">
                  <c:v>41947</c:v>
                </c:pt>
                <c:pt idx="550">
                  <c:v>41948</c:v>
                </c:pt>
                <c:pt idx="551">
                  <c:v>41949</c:v>
                </c:pt>
                <c:pt idx="552">
                  <c:v>41950</c:v>
                </c:pt>
                <c:pt idx="553">
                  <c:v>41953</c:v>
                </c:pt>
                <c:pt idx="554">
                  <c:v>41954</c:v>
                </c:pt>
                <c:pt idx="555">
                  <c:v>41955</c:v>
                </c:pt>
                <c:pt idx="556">
                  <c:v>41956</c:v>
                </c:pt>
                <c:pt idx="557">
                  <c:v>41957</c:v>
                </c:pt>
                <c:pt idx="558">
                  <c:v>41960</c:v>
                </c:pt>
              </c:numCache>
            </c:numRef>
          </c:cat>
          <c:val>
            <c:numRef>
              <c:f>Sheet1!$C$2:$C$560</c:f>
              <c:numCache>
                <c:formatCode>General</c:formatCode>
                <c:ptCount val="559"/>
                <c:pt idx="0">
                  <c:v>100</c:v>
                </c:pt>
                <c:pt idx="1">
                  <c:v>100.93168552873153</c:v>
                </c:pt>
                <c:pt idx="2">
                  <c:v>102.33469432493902</c:v>
                </c:pt>
                <c:pt idx="3">
                  <c:v>101.93735784945058</c:v>
                </c:pt>
                <c:pt idx="4">
                  <c:v>101.55372263173759</c:v>
                </c:pt>
                <c:pt idx="5">
                  <c:v>101.90173457923437</c:v>
                </c:pt>
                <c:pt idx="6">
                  <c:v>101.37012577754636</c:v>
                </c:pt>
                <c:pt idx="7">
                  <c:v>101.6633326939413</c:v>
                </c:pt>
                <c:pt idx="8">
                  <c:v>101.21119118735098</c:v>
                </c:pt>
                <c:pt idx="9">
                  <c:v>100.92346477406626</c:v>
                </c:pt>
                <c:pt idx="10">
                  <c:v>99.638286794727748</c:v>
                </c:pt>
                <c:pt idx="11">
                  <c:v>100.4576220097005</c:v>
                </c:pt>
                <c:pt idx="12">
                  <c:v>99.780779875592557</c:v>
                </c:pt>
                <c:pt idx="13">
                  <c:v>100.34253144438658</c:v>
                </c:pt>
                <c:pt idx="14">
                  <c:v>100.38637546926805</c:v>
                </c:pt>
                <c:pt idx="15">
                  <c:v>100.3397911928315</c:v>
                </c:pt>
                <c:pt idx="16">
                  <c:v>101.12076288603294</c:v>
                </c:pt>
                <c:pt idx="17">
                  <c:v>101.57016414106815</c:v>
                </c:pt>
                <c:pt idx="18">
                  <c:v>100.92894527717642</c:v>
                </c:pt>
                <c:pt idx="19">
                  <c:v>99.967116981338862</c:v>
                </c:pt>
                <c:pt idx="20">
                  <c:v>99.331378620557359</c:v>
                </c:pt>
                <c:pt idx="21">
                  <c:v>99.6218452853972</c:v>
                </c:pt>
                <c:pt idx="22">
                  <c:v>99.427287424985593</c:v>
                </c:pt>
                <c:pt idx="23">
                  <c:v>99.926013208012492</c:v>
                </c:pt>
                <c:pt idx="24">
                  <c:v>101.18652892335514</c:v>
                </c:pt>
                <c:pt idx="25">
                  <c:v>101.98120187433206</c:v>
                </c:pt>
                <c:pt idx="26">
                  <c:v>102.00038363521769</c:v>
                </c:pt>
                <c:pt idx="27">
                  <c:v>100.72890691365464</c:v>
                </c:pt>
                <c:pt idx="28">
                  <c:v>100.62477735456112</c:v>
                </c:pt>
                <c:pt idx="29">
                  <c:v>99.065574219713355</c:v>
                </c:pt>
                <c:pt idx="30">
                  <c:v>98.983366673060587</c:v>
                </c:pt>
                <c:pt idx="31">
                  <c:v>99.298495601896235</c:v>
                </c:pt>
                <c:pt idx="32">
                  <c:v>99.082015729043917</c:v>
                </c:pt>
                <c:pt idx="33">
                  <c:v>98.824432082865201</c:v>
                </c:pt>
                <c:pt idx="34">
                  <c:v>99.229989313018919</c:v>
                </c:pt>
                <c:pt idx="35">
                  <c:v>99.199846545912891</c:v>
                </c:pt>
                <c:pt idx="36">
                  <c:v>100.05206477954675</c:v>
                </c:pt>
                <c:pt idx="37">
                  <c:v>99.539637738744403</c:v>
                </c:pt>
                <c:pt idx="38">
                  <c:v>99.336859123667537</c:v>
                </c:pt>
                <c:pt idx="39">
                  <c:v>99.926013208012492</c:v>
                </c:pt>
                <c:pt idx="40">
                  <c:v>98.34488806072396</c:v>
                </c:pt>
                <c:pt idx="41">
                  <c:v>97.404981777327123</c:v>
                </c:pt>
                <c:pt idx="42">
                  <c:v>97.363878004000753</c:v>
                </c:pt>
                <c:pt idx="43">
                  <c:v>97.226865426246121</c:v>
                </c:pt>
                <c:pt idx="44">
                  <c:v>97.043268572054899</c:v>
                </c:pt>
                <c:pt idx="45">
                  <c:v>95.974570465568732</c:v>
                </c:pt>
                <c:pt idx="46">
                  <c:v>95.716986819390016</c:v>
                </c:pt>
                <c:pt idx="47">
                  <c:v>95.678623297618728</c:v>
                </c:pt>
                <c:pt idx="48">
                  <c:v>97.766694982599375</c:v>
                </c:pt>
                <c:pt idx="49">
                  <c:v>97.81053900748087</c:v>
                </c:pt>
                <c:pt idx="50">
                  <c:v>98.04620064121886</c:v>
                </c:pt>
                <c:pt idx="51">
                  <c:v>98.544926424245745</c:v>
                </c:pt>
                <c:pt idx="52">
                  <c:v>99.627325788507378</c:v>
                </c:pt>
                <c:pt idx="53">
                  <c:v>99.468391198312005</c:v>
                </c:pt>
                <c:pt idx="54">
                  <c:v>99.238210067684193</c:v>
                </c:pt>
                <c:pt idx="55">
                  <c:v>99.547858493409677</c:v>
                </c:pt>
                <c:pt idx="56">
                  <c:v>100.40555723015375</c:v>
                </c:pt>
                <c:pt idx="57">
                  <c:v>100.43295974570465</c:v>
                </c:pt>
                <c:pt idx="58">
                  <c:v>100.37815471460279</c:v>
                </c:pt>
                <c:pt idx="59">
                  <c:v>100.3699339599375</c:v>
                </c:pt>
                <c:pt idx="60">
                  <c:v>100.50420628613705</c:v>
                </c:pt>
                <c:pt idx="61">
                  <c:v>100.78371194475653</c:v>
                </c:pt>
                <c:pt idx="62">
                  <c:v>100.90702326473571</c:v>
                </c:pt>
                <c:pt idx="63">
                  <c:v>100.99745156605375</c:v>
                </c:pt>
                <c:pt idx="64">
                  <c:v>101.60304715972926</c:v>
                </c:pt>
                <c:pt idx="65">
                  <c:v>101.79760502014084</c:v>
                </c:pt>
                <c:pt idx="66">
                  <c:v>101.48521634286027</c:v>
                </c:pt>
                <c:pt idx="67">
                  <c:v>101.33450250733016</c:v>
                </c:pt>
                <c:pt idx="68">
                  <c:v>102.06066916942973</c:v>
                </c:pt>
                <c:pt idx="69">
                  <c:v>103.01427671060202</c:v>
                </c:pt>
                <c:pt idx="70">
                  <c:v>103.1348477790261</c:v>
                </c:pt>
                <c:pt idx="71">
                  <c:v>103.36502890965389</c:v>
                </c:pt>
                <c:pt idx="72">
                  <c:v>102.56761570712189</c:v>
                </c:pt>
                <c:pt idx="73">
                  <c:v>102.35661633737976</c:v>
                </c:pt>
                <c:pt idx="74">
                  <c:v>102.2579672813964</c:v>
                </c:pt>
                <c:pt idx="75">
                  <c:v>101.57290439262323</c:v>
                </c:pt>
                <c:pt idx="76">
                  <c:v>102.4169018715918</c:v>
                </c:pt>
                <c:pt idx="77">
                  <c:v>104.61458361877618</c:v>
                </c:pt>
                <c:pt idx="78">
                  <c:v>104.40906475214422</c:v>
                </c:pt>
                <c:pt idx="79">
                  <c:v>104.8283232400734</c:v>
                </c:pt>
                <c:pt idx="80">
                  <c:v>104.60362261255582</c:v>
                </c:pt>
                <c:pt idx="81">
                  <c:v>104.25835091661415</c:v>
                </c:pt>
                <c:pt idx="82">
                  <c:v>104.62828487655167</c:v>
                </c:pt>
                <c:pt idx="83">
                  <c:v>105.48872386485077</c:v>
                </c:pt>
                <c:pt idx="84">
                  <c:v>105.7435672594744</c:v>
                </c:pt>
                <c:pt idx="85">
                  <c:v>105.62025593949525</c:v>
                </c:pt>
                <c:pt idx="86">
                  <c:v>105.80933329679662</c:v>
                </c:pt>
                <c:pt idx="87">
                  <c:v>105.52160688351191</c:v>
                </c:pt>
                <c:pt idx="88">
                  <c:v>106.06143643986516</c:v>
                </c:pt>
                <c:pt idx="89">
                  <c:v>106.21763077850545</c:v>
                </c:pt>
                <c:pt idx="90">
                  <c:v>106.32450058915406</c:v>
                </c:pt>
                <c:pt idx="91">
                  <c:v>106.63962951798976</c:v>
                </c:pt>
                <c:pt idx="92">
                  <c:v>106.58208423533277</c:v>
                </c:pt>
                <c:pt idx="93">
                  <c:v>106.81500561751569</c:v>
                </c:pt>
                <c:pt idx="94">
                  <c:v>107.5192502671745</c:v>
                </c:pt>
                <c:pt idx="95">
                  <c:v>107.34661441920368</c:v>
                </c:pt>
                <c:pt idx="96">
                  <c:v>107.91932699421807</c:v>
                </c:pt>
                <c:pt idx="97">
                  <c:v>107.8645219631162</c:v>
                </c:pt>
                <c:pt idx="98">
                  <c:v>107.58775655605181</c:v>
                </c:pt>
                <c:pt idx="99">
                  <c:v>108.42079302880003</c:v>
                </c:pt>
                <c:pt idx="100">
                  <c:v>107.13561504946153</c:v>
                </c:pt>
                <c:pt idx="101">
                  <c:v>107.48636724851339</c:v>
                </c:pt>
                <c:pt idx="102">
                  <c:v>107.77957416490833</c:v>
                </c:pt>
                <c:pt idx="103">
                  <c:v>107.31647165209766</c:v>
                </c:pt>
                <c:pt idx="104">
                  <c:v>107.96043076754447</c:v>
                </c:pt>
                <c:pt idx="105">
                  <c:v>107.60145781382731</c:v>
                </c:pt>
                <c:pt idx="106">
                  <c:v>108.25363768393939</c:v>
                </c:pt>
                <c:pt idx="107">
                  <c:v>108.28378045104539</c:v>
                </c:pt>
                <c:pt idx="108">
                  <c:v>108.13032636396021</c:v>
                </c:pt>
                <c:pt idx="109">
                  <c:v>107.77683391335322</c:v>
                </c:pt>
                <c:pt idx="110">
                  <c:v>107.92754774888334</c:v>
                </c:pt>
                <c:pt idx="111">
                  <c:v>108.78798673718246</c:v>
                </c:pt>
                <c:pt idx="112">
                  <c:v>108.094703093744</c:v>
                </c:pt>
                <c:pt idx="113">
                  <c:v>106.72731756775271</c:v>
                </c:pt>
                <c:pt idx="114">
                  <c:v>107.4891075000685</c:v>
                </c:pt>
                <c:pt idx="115">
                  <c:v>106.73553832241798</c:v>
                </c:pt>
                <c:pt idx="116">
                  <c:v>106.32998109226426</c:v>
                </c:pt>
                <c:pt idx="117">
                  <c:v>107.32469240676295</c:v>
                </c:pt>
                <c:pt idx="118">
                  <c:v>107.78779491957363</c:v>
                </c:pt>
                <c:pt idx="119">
                  <c:v>107.53295152494999</c:v>
                </c:pt>
                <c:pt idx="120">
                  <c:v>107.78231441646342</c:v>
                </c:pt>
                <c:pt idx="121">
                  <c:v>108.94418107582275</c:v>
                </c:pt>
                <c:pt idx="122">
                  <c:v>109.13051818156907</c:v>
                </c:pt>
                <c:pt idx="123">
                  <c:v>109.31411503576027</c:v>
                </c:pt>
                <c:pt idx="124">
                  <c:v>109.60458170060011</c:v>
                </c:pt>
                <c:pt idx="125">
                  <c:v>110.0676842134108</c:v>
                </c:pt>
                <c:pt idx="126">
                  <c:v>109.94985339654177</c:v>
                </c:pt>
                <c:pt idx="127">
                  <c:v>109.68404899569776</c:v>
                </c:pt>
                <c:pt idx="128">
                  <c:v>110.46502068889923</c:v>
                </c:pt>
                <c:pt idx="129">
                  <c:v>110.83769490039184</c:v>
                </c:pt>
                <c:pt idx="130">
                  <c:v>109.79091880634641</c:v>
                </c:pt>
                <c:pt idx="131">
                  <c:v>109.50045214150659</c:v>
                </c:pt>
                <c:pt idx="132">
                  <c:v>110.10330748362701</c:v>
                </c:pt>
                <c:pt idx="133">
                  <c:v>109.55525717260841</c:v>
                </c:pt>
                <c:pt idx="134">
                  <c:v>109.96629490587236</c:v>
                </c:pt>
                <c:pt idx="135">
                  <c:v>109.55251692105334</c:v>
                </c:pt>
                <c:pt idx="136">
                  <c:v>110.00739867919873</c:v>
                </c:pt>
                <c:pt idx="137">
                  <c:v>109.80187981256677</c:v>
                </c:pt>
                <c:pt idx="138">
                  <c:v>110.19921628805523</c:v>
                </c:pt>
                <c:pt idx="139">
                  <c:v>110.25402131915709</c:v>
                </c:pt>
                <c:pt idx="140">
                  <c:v>109.57991943660426</c:v>
                </c:pt>
                <c:pt idx="141">
                  <c:v>109.28671252020936</c:v>
                </c:pt>
                <c:pt idx="142">
                  <c:v>109.04557038336118</c:v>
                </c:pt>
                <c:pt idx="143">
                  <c:v>109.65116597703665</c:v>
                </c:pt>
                <c:pt idx="144">
                  <c:v>110.17181377250431</c:v>
                </c:pt>
                <c:pt idx="145">
                  <c:v>111.6844326309155</c:v>
                </c:pt>
                <c:pt idx="146">
                  <c:v>112.51746910366371</c:v>
                </c:pt>
                <c:pt idx="147">
                  <c:v>112.0708081001836</c:v>
                </c:pt>
                <c:pt idx="148">
                  <c:v>110.19921628805523</c:v>
                </c:pt>
                <c:pt idx="149">
                  <c:v>110.73904584440852</c:v>
                </c:pt>
                <c:pt idx="150">
                  <c:v>109.4209848464089</c:v>
                </c:pt>
                <c:pt idx="151">
                  <c:v>108.88115529005562</c:v>
                </c:pt>
                <c:pt idx="152">
                  <c:v>109.55251692105334</c:v>
                </c:pt>
                <c:pt idx="153">
                  <c:v>109.95259364809688</c:v>
                </c:pt>
                <c:pt idx="154">
                  <c:v>111.21310936343956</c:v>
                </c:pt>
                <c:pt idx="155">
                  <c:v>111.79952319622942</c:v>
                </c:pt>
                <c:pt idx="156">
                  <c:v>112.46266407256185</c:v>
                </c:pt>
                <c:pt idx="157">
                  <c:v>112.40511878990489</c:v>
                </c:pt>
                <c:pt idx="158">
                  <c:v>113.2326747595429</c:v>
                </c:pt>
                <c:pt idx="159">
                  <c:v>113.83004959855315</c:v>
                </c:pt>
                <c:pt idx="160">
                  <c:v>113.14224645822483</c:v>
                </c:pt>
                <c:pt idx="161">
                  <c:v>113.33680431863644</c:v>
                </c:pt>
                <c:pt idx="162">
                  <c:v>114.30137286602908</c:v>
                </c:pt>
                <c:pt idx="163">
                  <c:v>114.2602690927027</c:v>
                </c:pt>
                <c:pt idx="164">
                  <c:v>115.07960430767542</c:v>
                </c:pt>
                <c:pt idx="165">
                  <c:v>116.03047159729263</c:v>
                </c:pt>
                <c:pt idx="166">
                  <c:v>115.45227851916803</c:v>
                </c:pt>
                <c:pt idx="167">
                  <c:v>115.44131751294768</c:v>
                </c:pt>
                <c:pt idx="168">
                  <c:v>115.59203134847778</c:v>
                </c:pt>
                <c:pt idx="169">
                  <c:v>116.23873071547968</c:v>
                </c:pt>
                <c:pt idx="170">
                  <c:v>116.68265146740471</c:v>
                </c:pt>
                <c:pt idx="171">
                  <c:v>116.4908338585482</c:v>
                </c:pt>
                <c:pt idx="172">
                  <c:v>116.70731373140053</c:v>
                </c:pt>
                <c:pt idx="173">
                  <c:v>117.31838982818621</c:v>
                </c:pt>
                <c:pt idx="174">
                  <c:v>117.48554517304687</c:v>
                </c:pt>
                <c:pt idx="175">
                  <c:v>116.9402351135834</c:v>
                </c:pt>
                <c:pt idx="176">
                  <c:v>115.35088921162959</c:v>
                </c:pt>
                <c:pt idx="177">
                  <c:v>115.33444770229906</c:v>
                </c:pt>
                <c:pt idx="178">
                  <c:v>115.05220179212452</c:v>
                </c:pt>
                <c:pt idx="179">
                  <c:v>115.66053763735509</c:v>
                </c:pt>
                <c:pt idx="180">
                  <c:v>115.11248732633655</c:v>
                </c:pt>
                <c:pt idx="181">
                  <c:v>115.25224015564628</c:v>
                </c:pt>
                <c:pt idx="182">
                  <c:v>113.74510180034525</c:v>
                </c:pt>
                <c:pt idx="183">
                  <c:v>113.79168607678183</c:v>
                </c:pt>
                <c:pt idx="184">
                  <c:v>113.88759488121008</c:v>
                </c:pt>
                <c:pt idx="185">
                  <c:v>112.18041816238731</c:v>
                </c:pt>
                <c:pt idx="186">
                  <c:v>112.43252130545585</c:v>
                </c:pt>
                <c:pt idx="187">
                  <c:v>113.5834269585948</c:v>
                </c:pt>
                <c:pt idx="188">
                  <c:v>113.83553010166332</c:v>
                </c:pt>
                <c:pt idx="189">
                  <c:v>113.10388293645354</c:v>
                </c:pt>
                <c:pt idx="190">
                  <c:v>112.73394897651603</c:v>
                </c:pt>
                <c:pt idx="191">
                  <c:v>113.14498670977994</c:v>
                </c:pt>
                <c:pt idx="192">
                  <c:v>113.17238922533089</c:v>
                </c:pt>
                <c:pt idx="193">
                  <c:v>114.20820431315593</c:v>
                </c:pt>
                <c:pt idx="194">
                  <c:v>114.64938481352587</c:v>
                </c:pt>
                <c:pt idx="195">
                  <c:v>114.08489299317675</c:v>
                </c:pt>
                <c:pt idx="196">
                  <c:v>110.11700874140247</c:v>
                </c:pt>
                <c:pt idx="197">
                  <c:v>109.90874962321537</c:v>
                </c:pt>
                <c:pt idx="198">
                  <c:v>108.33310497903706</c:v>
                </c:pt>
                <c:pt idx="199">
                  <c:v>109.17984270956073</c:v>
                </c:pt>
                <c:pt idx="200">
                  <c:v>110.21565779738577</c:v>
                </c:pt>
                <c:pt idx="201">
                  <c:v>111.06513577946455</c:v>
                </c:pt>
                <c:pt idx="202">
                  <c:v>110.92812320170991</c:v>
                </c:pt>
                <c:pt idx="203">
                  <c:v>111.78034143534374</c:v>
                </c:pt>
                <c:pt idx="204">
                  <c:v>111.82692571178032</c:v>
                </c:pt>
                <c:pt idx="205">
                  <c:v>111.47891376428356</c:v>
                </c:pt>
                <c:pt idx="206">
                  <c:v>112.1009508672896</c:v>
                </c:pt>
                <c:pt idx="207">
                  <c:v>112.16123640150164</c:v>
                </c:pt>
                <c:pt idx="208">
                  <c:v>112.79149425917299</c:v>
                </c:pt>
                <c:pt idx="209">
                  <c:v>113.64645274436191</c:v>
                </c:pt>
                <c:pt idx="210">
                  <c:v>114.02460745896472</c:v>
                </c:pt>
                <c:pt idx="211">
                  <c:v>115.85783574932178</c:v>
                </c:pt>
                <c:pt idx="212">
                  <c:v>115.97566656619077</c:v>
                </c:pt>
                <c:pt idx="213">
                  <c:v>116.16474392349217</c:v>
                </c:pt>
                <c:pt idx="214">
                  <c:v>116.16200367193707</c:v>
                </c:pt>
                <c:pt idx="215">
                  <c:v>116.37574329323432</c:v>
                </c:pt>
                <c:pt idx="216">
                  <c:v>116.96489737757925</c:v>
                </c:pt>
                <c:pt idx="217">
                  <c:v>117.1375332255501</c:v>
                </c:pt>
                <c:pt idx="218">
                  <c:v>117.70202504589919</c:v>
                </c:pt>
                <c:pt idx="219">
                  <c:v>117.666401775683</c:v>
                </c:pt>
                <c:pt idx="220">
                  <c:v>117.57323322280983</c:v>
                </c:pt>
                <c:pt idx="221">
                  <c:v>117.49650617926723</c:v>
                </c:pt>
                <c:pt idx="222">
                  <c:v>117.37045460773297</c:v>
                </c:pt>
                <c:pt idx="223">
                  <c:v>116.77856027183296</c:v>
                </c:pt>
                <c:pt idx="224">
                  <c:v>116.95941687446907</c:v>
                </c:pt>
                <c:pt idx="225">
                  <c:v>116.7264954922862</c:v>
                </c:pt>
                <c:pt idx="226">
                  <c:v>118.06099799961636</c:v>
                </c:pt>
                <c:pt idx="227">
                  <c:v>118.82278793193213</c:v>
                </c:pt>
                <c:pt idx="228">
                  <c:v>118.57890554352888</c:v>
                </c:pt>
                <c:pt idx="229">
                  <c:v>118.45011372043952</c:v>
                </c:pt>
                <c:pt idx="230">
                  <c:v>117.77601183788671</c:v>
                </c:pt>
                <c:pt idx="231">
                  <c:v>118.43915271421916</c:v>
                </c:pt>
                <c:pt idx="232">
                  <c:v>118.3816074315622</c:v>
                </c:pt>
                <c:pt idx="233">
                  <c:v>118.17060806182005</c:v>
                </c:pt>
                <c:pt idx="234">
                  <c:v>118.42271120488861</c:v>
                </c:pt>
                <c:pt idx="235">
                  <c:v>118.50491875154137</c:v>
                </c:pt>
                <c:pt idx="236">
                  <c:v>117.04710492423203</c:v>
                </c:pt>
                <c:pt idx="237">
                  <c:v>117.12109171621954</c:v>
                </c:pt>
                <c:pt idx="238">
                  <c:v>116.59496341764171</c:v>
                </c:pt>
                <c:pt idx="239">
                  <c:v>116.4826131038829</c:v>
                </c:pt>
                <c:pt idx="240">
                  <c:v>115.67971939824074</c:v>
                </c:pt>
                <c:pt idx="241">
                  <c:v>116.27983448880606</c:v>
                </c:pt>
                <c:pt idx="242">
                  <c:v>117.14575398021536</c:v>
                </c:pt>
                <c:pt idx="243">
                  <c:v>116.83884580604497</c:v>
                </c:pt>
                <c:pt idx="244">
                  <c:v>115.31252568985832</c:v>
                </c:pt>
                <c:pt idx="245">
                  <c:v>114.91518921436987</c:v>
                </c:pt>
                <c:pt idx="246">
                  <c:v>115.01931877346338</c:v>
                </c:pt>
                <c:pt idx="247">
                  <c:v>114.37809990957166</c:v>
                </c:pt>
                <c:pt idx="248">
                  <c:v>115.09604581700599</c:v>
                </c:pt>
                <c:pt idx="249">
                  <c:v>115.51256405338009</c:v>
                </c:pt>
                <c:pt idx="250">
                  <c:v>116.29627599813661</c:v>
                </c:pt>
                <c:pt idx="251">
                  <c:v>116.40314580878524</c:v>
                </c:pt>
                <c:pt idx="252">
                  <c:v>116.78678102649822</c:v>
                </c:pt>
                <c:pt idx="253">
                  <c:v>117.86918039075984</c:v>
                </c:pt>
                <c:pt idx="254">
                  <c:v>118.93239799413584</c:v>
                </c:pt>
                <c:pt idx="255">
                  <c:v>119.43386402871784</c:v>
                </c:pt>
                <c:pt idx="256">
                  <c:v>119.2502671745266</c:v>
                </c:pt>
                <c:pt idx="257">
                  <c:v>119.2995917025183</c:v>
                </c:pt>
                <c:pt idx="258">
                  <c:v>120.31896528101278</c:v>
                </c:pt>
                <c:pt idx="259">
                  <c:v>120.34910804811881</c:v>
                </c:pt>
                <c:pt idx="260">
                  <c:v>121.42054640616007</c:v>
                </c:pt>
                <c:pt idx="261">
                  <c:v>122.37689419888744</c:v>
                </c:pt>
                <c:pt idx="262">
                  <c:v>121.63976653056747</c:v>
                </c:pt>
                <c:pt idx="263">
                  <c:v>121.23968980352396</c:v>
                </c:pt>
                <c:pt idx="264">
                  <c:v>121.0780149617735</c:v>
                </c:pt>
                <c:pt idx="265">
                  <c:v>120.94100238401886</c:v>
                </c:pt>
                <c:pt idx="266">
                  <c:v>121.23694955196886</c:v>
                </c:pt>
                <c:pt idx="267">
                  <c:v>121.13281999287533</c:v>
                </c:pt>
                <c:pt idx="268">
                  <c:v>120.22853697969474</c:v>
                </c:pt>
                <c:pt idx="269">
                  <c:v>120.99306716356561</c:v>
                </c:pt>
                <c:pt idx="270">
                  <c:v>120.79850930315401</c:v>
                </c:pt>
                <c:pt idx="271">
                  <c:v>120.18743320636833</c:v>
                </c:pt>
                <c:pt idx="272">
                  <c:v>120.52996465075492</c:v>
                </c:pt>
                <c:pt idx="273">
                  <c:v>119.65856465623543</c:v>
                </c:pt>
                <c:pt idx="274">
                  <c:v>118.6830351026224</c:v>
                </c:pt>
                <c:pt idx="275">
                  <c:v>118.44463321732934</c:v>
                </c:pt>
                <c:pt idx="276">
                  <c:v>120.44775710410214</c:v>
                </c:pt>
                <c:pt idx="277">
                  <c:v>121.35478036883785</c:v>
                </c:pt>
                <c:pt idx="278">
                  <c:v>121.76855835365686</c:v>
                </c:pt>
                <c:pt idx="279">
                  <c:v>121.43972816704573</c:v>
                </c:pt>
                <c:pt idx="280">
                  <c:v>122.34401118022633</c:v>
                </c:pt>
                <c:pt idx="281">
                  <c:v>123.64289041734028</c:v>
                </c:pt>
                <c:pt idx="282">
                  <c:v>124.54443317896579</c:v>
                </c:pt>
                <c:pt idx="283">
                  <c:v>124.67596525361027</c:v>
                </c:pt>
                <c:pt idx="284">
                  <c:v>125.52544323568901</c:v>
                </c:pt>
                <c:pt idx="285">
                  <c:v>124.83764009536074</c:v>
                </c:pt>
                <c:pt idx="286">
                  <c:v>125.32266462061217</c:v>
                </c:pt>
                <c:pt idx="287">
                  <c:v>125.27882059573068</c:v>
                </c:pt>
                <c:pt idx="288">
                  <c:v>125.45967719836679</c:v>
                </c:pt>
                <c:pt idx="289">
                  <c:v>125.761104869427</c:v>
                </c:pt>
                <c:pt idx="290">
                  <c:v>125.61039103389689</c:v>
                </c:pt>
                <c:pt idx="291">
                  <c:v>124.93080864823389</c:v>
                </c:pt>
                <c:pt idx="292">
                  <c:v>124.49236839941904</c:v>
                </c:pt>
                <c:pt idx="293">
                  <c:v>124.94725015756445</c:v>
                </c:pt>
                <c:pt idx="294">
                  <c:v>124.62116022250839</c:v>
                </c:pt>
                <c:pt idx="295">
                  <c:v>125.34184638149782</c:v>
                </c:pt>
                <c:pt idx="296">
                  <c:v>123.88129230263336</c:v>
                </c:pt>
                <c:pt idx="297">
                  <c:v>124.43208286520702</c:v>
                </c:pt>
                <c:pt idx="298">
                  <c:v>124.80475707669963</c:v>
                </c:pt>
                <c:pt idx="299">
                  <c:v>124.65952374427974</c:v>
                </c:pt>
                <c:pt idx="300">
                  <c:v>124.88148412024222</c:v>
                </c:pt>
                <c:pt idx="301">
                  <c:v>125.78850738497793</c:v>
                </c:pt>
                <c:pt idx="302">
                  <c:v>126.45986901597566</c:v>
                </c:pt>
                <c:pt idx="303">
                  <c:v>126.60236209684048</c:v>
                </c:pt>
                <c:pt idx="304">
                  <c:v>126.10911681692379</c:v>
                </c:pt>
                <c:pt idx="305">
                  <c:v>125.70904008988025</c:v>
                </c:pt>
                <c:pt idx="306">
                  <c:v>126.07897404981776</c:v>
                </c:pt>
                <c:pt idx="307">
                  <c:v>126.61058285150575</c:v>
                </c:pt>
                <c:pt idx="308">
                  <c:v>126.67908914038308</c:v>
                </c:pt>
                <c:pt idx="309">
                  <c:v>126.55303756884881</c:v>
                </c:pt>
                <c:pt idx="310">
                  <c:v>126.7859589510317</c:v>
                </c:pt>
                <c:pt idx="311">
                  <c:v>127.1284903954183</c:v>
                </c:pt>
                <c:pt idx="312">
                  <c:v>127.09834762831224</c:v>
                </c:pt>
                <c:pt idx="313">
                  <c:v>126.53385580796315</c:v>
                </c:pt>
                <c:pt idx="314">
                  <c:v>125.9145589565122</c:v>
                </c:pt>
                <c:pt idx="315">
                  <c:v>125.22949606773901</c:v>
                </c:pt>
                <c:pt idx="316">
                  <c:v>124.77187405803851</c:v>
                </c:pt>
                <c:pt idx="317">
                  <c:v>125.82961115830433</c:v>
                </c:pt>
                <c:pt idx="318">
                  <c:v>126.25435014934369</c:v>
                </c:pt>
                <c:pt idx="319">
                  <c:v>125.99676650316496</c:v>
                </c:pt>
                <c:pt idx="320">
                  <c:v>124.93902940289917</c:v>
                </c:pt>
                <c:pt idx="321">
                  <c:v>124.02926588660836</c:v>
                </c:pt>
                <c:pt idx="322">
                  <c:v>123.93335708218012</c:v>
                </c:pt>
                <c:pt idx="323">
                  <c:v>124.72528978160193</c:v>
                </c:pt>
                <c:pt idx="324">
                  <c:v>124.30603129367275</c:v>
                </c:pt>
                <c:pt idx="325">
                  <c:v>125.93648096895294</c:v>
                </c:pt>
                <c:pt idx="326">
                  <c:v>126.32285643822101</c:v>
                </c:pt>
                <c:pt idx="327">
                  <c:v>126.95311429589236</c:v>
                </c:pt>
                <c:pt idx="328">
                  <c:v>127.78341051708546</c:v>
                </c:pt>
                <c:pt idx="329">
                  <c:v>127.9505658619461</c:v>
                </c:pt>
                <c:pt idx="330">
                  <c:v>129.14531553996656</c:v>
                </c:pt>
                <c:pt idx="331">
                  <c:v>129.33439289726795</c:v>
                </c:pt>
                <c:pt idx="332">
                  <c:v>129.70432685720547</c:v>
                </c:pt>
                <c:pt idx="333">
                  <c:v>128.50957717918504</c:v>
                </c:pt>
                <c:pt idx="334">
                  <c:v>128.61096648672344</c:v>
                </c:pt>
                <c:pt idx="335">
                  <c:v>128.22733126901051</c:v>
                </c:pt>
                <c:pt idx="336">
                  <c:v>128.69865453648643</c:v>
                </c:pt>
                <c:pt idx="337">
                  <c:v>128.94801742799987</c:v>
                </c:pt>
                <c:pt idx="338">
                  <c:v>128.64933000849479</c:v>
                </c:pt>
                <c:pt idx="339">
                  <c:v>129.36453566437399</c:v>
                </c:pt>
                <c:pt idx="340">
                  <c:v>128.6712520209355</c:v>
                </c:pt>
                <c:pt idx="341">
                  <c:v>129.10421176664016</c:v>
                </c:pt>
                <c:pt idx="342">
                  <c:v>129.73995012742168</c:v>
                </c:pt>
                <c:pt idx="343">
                  <c:v>129.67692434165454</c:v>
                </c:pt>
                <c:pt idx="344">
                  <c:v>129.52895075767955</c:v>
                </c:pt>
                <c:pt idx="345">
                  <c:v>129.49880799057351</c:v>
                </c:pt>
                <c:pt idx="346">
                  <c:v>129.67418409009946</c:v>
                </c:pt>
                <c:pt idx="347">
                  <c:v>129.86600169895596</c:v>
                </c:pt>
                <c:pt idx="348">
                  <c:v>129.01378346532212</c:v>
                </c:pt>
                <c:pt idx="349">
                  <c:v>126.52289480174279</c:v>
                </c:pt>
                <c:pt idx="350">
                  <c:v>125.42405392815058</c:v>
                </c:pt>
                <c:pt idx="351">
                  <c:v>125.92551996273258</c:v>
                </c:pt>
                <c:pt idx="352">
                  <c:v>125.41035267037515</c:v>
                </c:pt>
                <c:pt idx="353">
                  <c:v>125.62957279478255</c:v>
                </c:pt>
                <c:pt idx="354">
                  <c:v>124.94999040911954</c:v>
                </c:pt>
                <c:pt idx="355">
                  <c:v>122.91124325213055</c:v>
                </c:pt>
                <c:pt idx="356">
                  <c:v>122.65091935439672</c:v>
                </c:pt>
                <c:pt idx="357">
                  <c:v>122.89754199435508</c:v>
                </c:pt>
                <c:pt idx="358">
                  <c:v>124.50880990874961</c:v>
                </c:pt>
                <c:pt idx="359">
                  <c:v>126.01320801249554</c:v>
                </c:pt>
                <c:pt idx="360">
                  <c:v>126.42698599731452</c:v>
                </c:pt>
                <c:pt idx="361">
                  <c:v>127.79711177486092</c:v>
                </c:pt>
                <c:pt idx="362">
                  <c:v>128.1095004521415</c:v>
                </c:pt>
                <c:pt idx="363">
                  <c:v>128.50683692762993</c:v>
                </c:pt>
                <c:pt idx="364">
                  <c:v>129.04118598087305</c:v>
                </c:pt>
                <c:pt idx="365">
                  <c:v>129.34535390348833</c:v>
                </c:pt>
                <c:pt idx="366">
                  <c:v>129.90436522072724</c:v>
                </c:pt>
                <c:pt idx="367">
                  <c:v>129.51524949990409</c:v>
                </c:pt>
                <c:pt idx="368">
                  <c:v>129.53991176389991</c:v>
                </c:pt>
                <c:pt idx="369">
                  <c:v>129.89888471761705</c:v>
                </c:pt>
                <c:pt idx="370">
                  <c:v>130.57298660016988</c:v>
                </c:pt>
                <c:pt idx="371">
                  <c:v>130.70725892636941</c:v>
                </c:pt>
                <c:pt idx="372">
                  <c:v>130.33732496643188</c:v>
                </c:pt>
                <c:pt idx="373">
                  <c:v>130.61957087660647</c:v>
                </c:pt>
                <c:pt idx="374">
                  <c:v>131.20324445784121</c:v>
                </c:pt>
                <c:pt idx="375">
                  <c:v>129.6138985558874</c:v>
                </c:pt>
                <c:pt idx="376">
                  <c:v>131.36765955114677</c:v>
                </c:pt>
                <c:pt idx="377">
                  <c:v>131.5183733866769</c:v>
                </c:pt>
                <c:pt idx="378">
                  <c:v>132.11026772257694</c:v>
                </c:pt>
                <c:pt idx="379">
                  <c:v>131.75129476885979</c:v>
                </c:pt>
                <c:pt idx="380">
                  <c:v>131.38136080892224</c:v>
                </c:pt>
                <c:pt idx="381">
                  <c:v>131.07719288630693</c:v>
                </c:pt>
                <c:pt idx="382">
                  <c:v>130.56750609705972</c:v>
                </c:pt>
                <c:pt idx="383">
                  <c:v>129.52073000301428</c:v>
                </c:pt>
                <c:pt idx="384">
                  <c:v>128.6383690022744</c:v>
                </c:pt>
                <c:pt idx="385">
                  <c:v>129.64952182610361</c:v>
                </c:pt>
                <c:pt idx="386">
                  <c:v>130.56750609705972</c:v>
                </c:pt>
                <c:pt idx="387">
                  <c:v>129.99753377360042</c:v>
                </c:pt>
                <c:pt idx="388">
                  <c:v>129.64130107143833</c:v>
                </c:pt>
                <c:pt idx="389">
                  <c:v>129.55635327323049</c:v>
                </c:pt>
                <c:pt idx="390">
                  <c:v>129.00008220754665</c:v>
                </c:pt>
                <c:pt idx="391">
                  <c:v>129.76461239141753</c:v>
                </c:pt>
                <c:pt idx="392">
                  <c:v>129.72350861809113</c:v>
                </c:pt>
                <c:pt idx="393">
                  <c:v>129.73720987586657</c:v>
                </c:pt>
                <c:pt idx="394">
                  <c:v>130.41131175841943</c:v>
                </c:pt>
                <c:pt idx="395">
                  <c:v>131.37314005425696</c:v>
                </c:pt>
                <c:pt idx="396">
                  <c:v>132.14041048968295</c:v>
                </c:pt>
                <c:pt idx="397">
                  <c:v>132.43361740607787</c:v>
                </c:pt>
                <c:pt idx="398">
                  <c:v>132.25550105499681</c:v>
                </c:pt>
                <c:pt idx="399">
                  <c:v>131.62798344888057</c:v>
                </c:pt>
                <c:pt idx="400">
                  <c:v>130.3017016962157</c:v>
                </c:pt>
                <c:pt idx="401">
                  <c:v>130.59216836105551</c:v>
                </c:pt>
                <c:pt idx="402">
                  <c:v>131.4772696133505</c:v>
                </c:pt>
                <c:pt idx="403">
                  <c:v>130.04411805003699</c:v>
                </c:pt>
                <c:pt idx="404">
                  <c:v>128.64110925382948</c:v>
                </c:pt>
                <c:pt idx="405">
                  <c:v>129.0494067355383</c:v>
                </c:pt>
                <c:pt idx="406">
                  <c:v>129.21930233195405</c:v>
                </c:pt>
                <c:pt idx="407">
                  <c:v>130.69081741703886</c:v>
                </c:pt>
                <c:pt idx="408">
                  <c:v>131.12377716274349</c:v>
                </c:pt>
                <c:pt idx="409">
                  <c:v>132.09382621324636</c:v>
                </c:pt>
                <c:pt idx="410">
                  <c:v>131.93215137149588</c:v>
                </c:pt>
                <c:pt idx="411">
                  <c:v>132.07464445236073</c:v>
                </c:pt>
                <c:pt idx="412">
                  <c:v>131.29367275915928</c:v>
                </c:pt>
                <c:pt idx="413">
                  <c:v>131.41150357602825</c:v>
                </c:pt>
                <c:pt idx="414">
                  <c:v>132.16781300523385</c:v>
                </c:pt>
                <c:pt idx="415">
                  <c:v>132.59803249938344</c:v>
                </c:pt>
                <c:pt idx="416">
                  <c:v>132.83917463623158</c:v>
                </c:pt>
                <c:pt idx="417">
                  <c:v>132.75970734113392</c:v>
                </c:pt>
                <c:pt idx="418">
                  <c:v>132.85561614556215</c:v>
                </c:pt>
                <c:pt idx="419">
                  <c:v>132.4116953936371</c:v>
                </c:pt>
                <c:pt idx="420">
                  <c:v>132.42813690296765</c:v>
                </c:pt>
                <c:pt idx="421">
                  <c:v>132.71038281314225</c:v>
                </c:pt>
                <c:pt idx="422">
                  <c:v>132.43909790918806</c:v>
                </c:pt>
                <c:pt idx="423">
                  <c:v>133.35434192858901</c:v>
                </c:pt>
                <c:pt idx="424">
                  <c:v>133.6283670840983</c:v>
                </c:pt>
                <c:pt idx="425">
                  <c:v>133.46395199079274</c:v>
                </c:pt>
                <c:pt idx="426">
                  <c:v>132.46924067629408</c:v>
                </c:pt>
                <c:pt idx="427">
                  <c:v>132.5350067136163</c:v>
                </c:pt>
                <c:pt idx="428">
                  <c:v>132.70216205847694</c:v>
                </c:pt>
                <c:pt idx="429">
                  <c:v>132.143150741238</c:v>
                </c:pt>
                <c:pt idx="430">
                  <c:v>132.82547337845611</c:v>
                </c:pt>
                <c:pt idx="431">
                  <c:v>133.33241991614827</c:v>
                </c:pt>
                <c:pt idx="432">
                  <c:v>133.78456142273859</c:v>
                </c:pt>
                <c:pt idx="433">
                  <c:v>134.23122242621872</c:v>
                </c:pt>
                <c:pt idx="434">
                  <c:v>134.58745512838078</c:v>
                </c:pt>
                <c:pt idx="435">
                  <c:v>134.51894883950345</c:v>
                </c:pt>
                <c:pt idx="436">
                  <c:v>135.08344065985253</c:v>
                </c:pt>
                <c:pt idx="437">
                  <c:v>135.23963499849282</c:v>
                </c:pt>
                <c:pt idx="438">
                  <c:v>135.45611487134519</c:v>
                </c:pt>
                <c:pt idx="439">
                  <c:v>135.34650480914146</c:v>
                </c:pt>
                <c:pt idx="440">
                  <c:v>135.52462116022247</c:v>
                </c:pt>
                <c:pt idx="441">
                  <c:v>136.13843750856327</c:v>
                </c:pt>
                <c:pt idx="442">
                  <c:v>136.86460417066283</c:v>
                </c:pt>
                <c:pt idx="443">
                  <c:v>136.97695448442167</c:v>
                </c:pt>
                <c:pt idx="444">
                  <c:v>136.9221494533198</c:v>
                </c:pt>
                <c:pt idx="445">
                  <c:v>136.61524127914942</c:v>
                </c:pt>
                <c:pt idx="446">
                  <c:v>136.19050228811005</c:v>
                </c:pt>
                <c:pt idx="447">
                  <c:v>136.29189159564848</c:v>
                </c:pt>
                <c:pt idx="448">
                  <c:v>136.26448908009752</c:v>
                </c:pt>
                <c:pt idx="449">
                  <c:v>136.3850601485216</c:v>
                </c:pt>
                <c:pt idx="450">
                  <c:v>137.09752555284572</c:v>
                </c:pt>
                <c:pt idx="451">
                  <c:v>137.99084755980599</c:v>
                </c:pt>
                <c:pt idx="452">
                  <c:v>137.88123749760229</c:v>
                </c:pt>
                <c:pt idx="453">
                  <c:v>137.77710793850878</c:v>
                </c:pt>
                <c:pt idx="454">
                  <c:v>137.11670731373141</c:v>
                </c:pt>
                <c:pt idx="455">
                  <c:v>137.13040857150685</c:v>
                </c:pt>
                <c:pt idx="456">
                  <c:v>137.10300605595589</c:v>
                </c:pt>
                <c:pt idx="457">
                  <c:v>137.37155070835502</c:v>
                </c:pt>
                <c:pt idx="458">
                  <c:v>137.57432932343187</c:v>
                </c:pt>
                <c:pt idx="459">
                  <c:v>138.49505384594306</c:v>
                </c:pt>
                <c:pt idx="460">
                  <c:v>138.66220919080371</c:v>
                </c:pt>
                <c:pt idx="461">
                  <c:v>139.22122050804265</c:v>
                </c:pt>
                <c:pt idx="462">
                  <c:v>139.17463623160603</c:v>
                </c:pt>
                <c:pt idx="463">
                  <c:v>138.4813525881676</c:v>
                </c:pt>
                <c:pt idx="464">
                  <c:v>137.46197900967309</c:v>
                </c:pt>
                <c:pt idx="465">
                  <c:v>137.77984819006383</c:v>
                </c:pt>
                <c:pt idx="466">
                  <c:v>136.86734442221794</c:v>
                </c:pt>
                <c:pt idx="467">
                  <c:v>136.99065574219713</c:v>
                </c:pt>
                <c:pt idx="468">
                  <c:v>137.86479598827174</c:v>
                </c:pt>
                <c:pt idx="469">
                  <c:v>137.42635573945685</c:v>
                </c:pt>
                <c:pt idx="470">
                  <c:v>138.24295070287451</c:v>
                </c:pt>
                <c:pt idx="471">
                  <c:v>136.98243498753183</c:v>
                </c:pt>
                <c:pt idx="472">
                  <c:v>137.6428356123092</c:v>
                </c:pt>
                <c:pt idx="473">
                  <c:v>137.33044693502862</c:v>
                </c:pt>
                <c:pt idx="474">
                  <c:v>138.17992491710737</c:v>
                </c:pt>
                <c:pt idx="475">
                  <c:v>138.45669032417177</c:v>
                </c:pt>
                <c:pt idx="476">
                  <c:v>138.62384566903239</c:v>
                </c:pt>
                <c:pt idx="477">
                  <c:v>138.0127695722467</c:v>
                </c:pt>
                <c:pt idx="478">
                  <c:v>138.01825007535692</c:v>
                </c:pt>
                <c:pt idx="479">
                  <c:v>137.71682240429672</c:v>
                </c:pt>
                <c:pt idx="480">
                  <c:v>137.40443372701611</c:v>
                </c:pt>
                <c:pt idx="481">
                  <c:v>135.40130984024333</c:v>
                </c:pt>
                <c:pt idx="482">
                  <c:v>134.7272079576905</c:v>
                </c:pt>
                <c:pt idx="483">
                  <c:v>135.03685638341599</c:v>
                </c:pt>
                <c:pt idx="484">
                  <c:v>134.09420984846406</c:v>
                </c:pt>
                <c:pt idx="485">
                  <c:v>133.6968733729756</c:v>
                </c:pt>
                <c:pt idx="486">
                  <c:v>133.06113501219409</c:v>
                </c:pt>
                <c:pt idx="487">
                  <c:v>133.44477022990711</c:v>
                </c:pt>
                <c:pt idx="488">
                  <c:v>134.38193626174882</c:v>
                </c:pt>
                <c:pt idx="489">
                  <c:v>134.22848217466361</c:v>
                </c:pt>
                <c:pt idx="490">
                  <c:v>135.00671361630995</c:v>
                </c:pt>
                <c:pt idx="491">
                  <c:v>135.59038719754471</c:v>
                </c:pt>
                <c:pt idx="492">
                  <c:v>135.48625763845118</c:v>
                </c:pt>
                <c:pt idx="493">
                  <c:v>136.51111172005591</c:v>
                </c:pt>
                <c:pt idx="494">
                  <c:v>137.12218781684155</c:v>
                </c:pt>
                <c:pt idx="495">
                  <c:v>137.19617460882907</c:v>
                </c:pt>
                <c:pt idx="496">
                  <c:v>137.69764064341103</c:v>
                </c:pt>
                <c:pt idx="497">
                  <c:v>137.23727838215547</c:v>
                </c:pt>
                <c:pt idx="498">
                  <c:v>137.99632806291615</c:v>
                </c:pt>
                <c:pt idx="499">
                  <c:v>138.30871674019676</c:v>
                </c:pt>
                <c:pt idx="500">
                  <c:v>138.45669032417177</c:v>
                </c:pt>
                <c:pt idx="501">
                  <c:v>137.94700353492448</c:v>
                </c:pt>
                <c:pt idx="502">
                  <c:v>138.26761296687036</c:v>
                </c:pt>
                <c:pt idx="503">
                  <c:v>138.2484312059847</c:v>
                </c:pt>
                <c:pt idx="504">
                  <c:v>138.17718466555226</c:v>
                </c:pt>
                <c:pt idx="505">
                  <c:v>138.60192365659165</c:v>
                </c:pt>
                <c:pt idx="506">
                  <c:v>138.33611925574766</c:v>
                </c:pt>
                <c:pt idx="507">
                  <c:v>138.47587208505738</c:v>
                </c:pt>
                <c:pt idx="508">
                  <c:v>137.97166579892033</c:v>
                </c:pt>
                <c:pt idx="509">
                  <c:v>137.11122681062119</c:v>
                </c:pt>
                <c:pt idx="510">
                  <c:v>137.31674567725315</c:v>
                </c:pt>
                <c:pt idx="511">
                  <c:v>137.41265448168139</c:v>
                </c:pt>
                <c:pt idx="512">
                  <c:v>136.84268215822212</c:v>
                </c:pt>
                <c:pt idx="513">
                  <c:v>136.63168278847996</c:v>
                </c:pt>
                <c:pt idx="514">
                  <c:v>137.0317595155235</c:v>
                </c:pt>
                <c:pt idx="515">
                  <c:v>137.24823938837582</c:v>
                </c:pt>
                <c:pt idx="516">
                  <c:v>137.84287397583097</c:v>
                </c:pt>
                <c:pt idx="517">
                  <c:v>137.66475762474994</c:v>
                </c:pt>
                <c:pt idx="518">
                  <c:v>136.61250102759431</c:v>
                </c:pt>
                <c:pt idx="519">
                  <c:v>135.82330857972761</c:v>
                </c:pt>
                <c:pt idx="520">
                  <c:v>136.39602115474199</c:v>
                </c:pt>
                <c:pt idx="521">
                  <c:v>134.85051927766969</c:v>
                </c:pt>
                <c:pt idx="522">
                  <c:v>135.23415449538265</c:v>
                </c:pt>
                <c:pt idx="523">
                  <c:v>134.77927273723728</c:v>
                </c:pt>
                <c:pt idx="524">
                  <c:v>134.5025073301729</c:v>
                </c:pt>
                <c:pt idx="525">
                  <c:v>133.01729098731263</c:v>
                </c:pt>
                <c:pt idx="526">
                  <c:v>132.07464445236073</c:v>
                </c:pt>
                <c:pt idx="527">
                  <c:v>132.63091551804453</c:v>
                </c:pt>
                <c:pt idx="528">
                  <c:v>133.0309922450881</c:v>
                </c:pt>
                <c:pt idx="529">
                  <c:v>131.60880168799494</c:v>
                </c:pt>
                <c:pt idx="530">
                  <c:v>132.48842243717971</c:v>
                </c:pt>
                <c:pt idx="531">
                  <c:v>130.93469980544214</c:v>
                </c:pt>
                <c:pt idx="532">
                  <c:v>128.86306962979199</c:v>
                </c:pt>
                <c:pt idx="533">
                  <c:v>127.87383881840351</c:v>
                </c:pt>
                <c:pt idx="534">
                  <c:v>127.64365768777573</c:v>
                </c:pt>
                <c:pt idx="535">
                  <c:v>126.43794700353493</c:v>
                </c:pt>
                <c:pt idx="536">
                  <c:v>126.1831036089113</c:v>
                </c:pt>
                <c:pt idx="537">
                  <c:v>127.83547529663221</c:v>
                </c:pt>
                <c:pt idx="538">
                  <c:v>128.87129038445727</c:v>
                </c:pt>
                <c:pt idx="539">
                  <c:v>130.81960924012822</c:v>
                </c:pt>
                <c:pt idx="540">
                  <c:v>130.6031293672759</c:v>
                </c:pt>
                <c:pt idx="541">
                  <c:v>131.56221741155838</c:v>
                </c:pt>
                <c:pt idx="542">
                  <c:v>132.19521552078476</c:v>
                </c:pt>
                <c:pt idx="543">
                  <c:v>132.15411174745842</c:v>
                </c:pt>
                <c:pt idx="544">
                  <c:v>133.51053626722933</c:v>
                </c:pt>
                <c:pt idx="545">
                  <c:v>133.68591236675525</c:v>
                </c:pt>
                <c:pt idx="546">
                  <c:v>133.91061299427287</c:v>
                </c:pt>
                <c:pt idx="547">
                  <c:v>135.42049160112896</c:v>
                </c:pt>
                <c:pt idx="548">
                  <c:v>134.67788342969885</c:v>
                </c:pt>
                <c:pt idx="549">
                  <c:v>134.73542871235577</c:v>
                </c:pt>
                <c:pt idx="550">
                  <c:v>135.37664757624748</c:v>
                </c:pt>
                <c:pt idx="551">
                  <c:v>135.45611487134519</c:v>
                </c:pt>
                <c:pt idx="552">
                  <c:v>135.40130984024333</c:v>
                </c:pt>
                <c:pt idx="553">
                  <c:v>136.04252870413504</c:v>
                </c:pt>
                <c:pt idx="554">
                  <c:v>136.21790480366096</c:v>
                </c:pt>
                <c:pt idx="555">
                  <c:v>136.0891129805716</c:v>
                </c:pt>
                <c:pt idx="556">
                  <c:v>136.23982681610173</c:v>
                </c:pt>
                <c:pt idx="557">
                  <c:v>136.32203436275447</c:v>
                </c:pt>
                <c:pt idx="558">
                  <c:v>136.11377524456742</c:v>
                </c:pt>
              </c:numCache>
            </c:numRef>
          </c:val>
          <c:smooth val="0"/>
        </c:ser>
        <c:dLbls>
          <c:showLegendKey val="0"/>
          <c:showVal val="0"/>
          <c:showCatName val="0"/>
          <c:showSerName val="0"/>
          <c:showPercent val="0"/>
          <c:showBubbleSize val="0"/>
        </c:dLbls>
        <c:marker val="1"/>
        <c:smooth val="0"/>
        <c:axId val="254298752"/>
        <c:axId val="254357888"/>
      </c:lineChart>
      <c:dateAx>
        <c:axId val="254298752"/>
        <c:scaling>
          <c:orientation val="minMax"/>
        </c:scaling>
        <c:delete val="0"/>
        <c:axPos val="b"/>
        <c:numFmt formatCode="[$-409]mmm\-yy;@" sourceLinked="0"/>
        <c:majorTickMark val="in"/>
        <c:minorTickMark val="in"/>
        <c:tickLblPos val="nextTo"/>
        <c:spPr>
          <a:ln w="3164">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54357888"/>
        <c:crosses val="autoZero"/>
        <c:auto val="1"/>
        <c:lblOffset val="100"/>
        <c:baseTimeUnit val="days"/>
      </c:dateAx>
      <c:valAx>
        <c:axId val="254357888"/>
        <c:scaling>
          <c:orientation val="minMax"/>
          <c:min val="40"/>
        </c:scaling>
        <c:delete val="0"/>
        <c:axPos val="l"/>
        <c:majorGridlines>
          <c:spPr>
            <a:ln w="12657">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254298752"/>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dirty="0"/>
          </a:p>
        </p:txBody>
      </p:sp>
      <p:sp>
        <p:nvSpPr>
          <p:cNvPr id="3" name="Datumsplatzhalt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9D55E9D5-6EC7-464A-ABCB-0175CC23F9D5}" type="datetimeFigureOut">
              <a:rPr lang="de-DE" smtClean="0"/>
              <a:pPr/>
              <a:t>24.11.2014</a:t>
            </a:fld>
            <a:endParaRPr lang="de-DE" dirty="0"/>
          </a:p>
        </p:txBody>
      </p:sp>
      <p:sp>
        <p:nvSpPr>
          <p:cNvPr id="4" name="Folienbildplatzhalter 3"/>
          <p:cNvSpPr>
            <a:spLocks noGrp="1" noRot="1" noChangeAspect="1"/>
          </p:cNvSpPr>
          <p:nvPr>
            <p:ph type="sldImg" idx="2"/>
          </p:nvPr>
        </p:nvSpPr>
        <p:spPr>
          <a:xfrm>
            <a:off x="1057275" y="720725"/>
            <a:ext cx="5200650" cy="3600450"/>
          </a:xfrm>
          <a:prstGeom prst="rect">
            <a:avLst/>
          </a:prstGeom>
          <a:noFill/>
          <a:ln w="12700">
            <a:solidFill>
              <a:prstClr val="black"/>
            </a:solidFill>
          </a:ln>
        </p:spPr>
        <p:txBody>
          <a:bodyPr vert="horz" lIns="96661" tIns="48331" rIns="96661" bIns="48331" rtlCol="0" anchor="ctr"/>
          <a:lstStyle/>
          <a:p>
            <a:endParaRPr lang="de-DE" dirty="0"/>
          </a:p>
        </p:txBody>
      </p:sp>
      <p:sp>
        <p:nvSpPr>
          <p:cNvPr id="5" name="Notizenplatzhalt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dirty="0"/>
          </a:p>
        </p:txBody>
      </p:sp>
      <p:sp>
        <p:nvSpPr>
          <p:cNvPr id="7" name="Foliennummernplatzhalt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C9EC3BC6-58B8-4225-A7D3-DD00ABEE6CB4}" type="slidenum">
              <a:rPr lang="de-DE" smtClean="0"/>
              <a:pPr/>
              <a:t>2</a:t>
            </a:fld>
            <a:endParaRPr lang="de-DE" dirty="0" smtClean="0"/>
          </a:p>
        </p:txBody>
      </p:sp>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5</a:t>
            </a:fld>
            <a:endParaRPr lang="de-DE" dirty="0">
              <a:solidFill>
                <a:srgbClr val="000000"/>
              </a:solidFill>
            </a:endParaRPr>
          </a:p>
        </p:txBody>
      </p:sp>
      <p:sp>
        <p:nvSpPr>
          <p:cNvPr id="29699" name="Rectangle 7"/>
          <p:cNvSpPr txBox="1">
            <a:spLocks noGrp="1" noChangeArrowheads="1"/>
          </p:cNvSpPr>
          <p:nvPr/>
        </p:nvSpPr>
        <p:spPr bwMode="auto">
          <a:xfrm>
            <a:off x="4144487" y="9120605"/>
            <a:ext cx="3170718" cy="480598"/>
          </a:xfrm>
          <a:prstGeom prst="rect">
            <a:avLst/>
          </a:prstGeom>
          <a:noFill/>
          <a:ln w="9525">
            <a:noFill/>
            <a:miter lim="800000"/>
            <a:headEnd/>
            <a:tailEnd/>
          </a:ln>
        </p:spPr>
        <p:txBody>
          <a:bodyPr lIns="96696" tIns="48349" rIns="96696" bIns="48349"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5</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541338" y="481013"/>
            <a:ext cx="6224587" cy="4308475"/>
          </a:xfrm>
          <a:ln/>
        </p:spPr>
      </p:sp>
      <p:sp>
        <p:nvSpPr>
          <p:cNvPr id="29701" name="Rectangle 3"/>
          <p:cNvSpPr>
            <a:spLocks noGrp="1" noChangeArrowheads="1"/>
          </p:cNvSpPr>
          <p:nvPr>
            <p:ph type="body" idx="1"/>
          </p:nvPr>
        </p:nvSpPr>
        <p:spPr>
          <a:xfrm>
            <a:off x="731187" y="4789088"/>
            <a:ext cx="5852843" cy="4322306"/>
          </a:xfrm>
          <a:noFill/>
          <a:ln/>
        </p:spPr>
        <p:txBody>
          <a:bodyPr/>
          <a:lstStyle/>
          <a:p>
            <a:pPr eaLnBrk="1" hangingPunct="1"/>
            <a:endParaRPr lang="de-CH"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4143003" y="9119301"/>
            <a:ext cx="3170491" cy="480368"/>
          </a:xfrm>
          <a:prstGeom prst="rect">
            <a:avLst/>
          </a:prstGeom>
          <a:noFill/>
          <a:ln w="9525">
            <a:noFill/>
            <a:miter lim="800000"/>
            <a:headEnd/>
            <a:tailEnd/>
          </a:ln>
        </p:spPr>
        <p:txBody>
          <a:bodyPr lIns="96661" tIns="48331" rIns="96661" bIns="48331" anchor="b"/>
          <a:lstStyle/>
          <a:p>
            <a:pPr algn="r">
              <a:spcBef>
                <a:spcPct val="0"/>
              </a:spcBef>
            </a:pPr>
            <a:fld id="{C7290348-950D-4A40-BFD8-75C8DCFB4773}" type="slidenum">
              <a:rPr lang="de-DE" sz="1300">
                <a:solidFill>
                  <a:prstClr val="black"/>
                </a:solidFill>
                <a:cs typeface="Arial" charset="0"/>
              </a:rPr>
              <a:pPr algn="r">
                <a:spcBef>
                  <a:spcPct val="0"/>
                </a:spcBef>
              </a:pPr>
              <a:t>6</a:t>
            </a:fld>
            <a:endParaRPr lang="de-DE" sz="130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75932" y="4561188"/>
            <a:ext cx="5363340" cy="4320234"/>
          </a:xfrm>
          <a:noFill/>
          <a:ln/>
        </p:spPr>
        <p:txBody>
          <a:bodyPr/>
          <a:lstStyle/>
          <a:p>
            <a:pPr eaLnBrk="1" hangingPunct="1"/>
            <a:endParaRPr lang="en-US" dirty="0" smtClean="0"/>
          </a:p>
        </p:txBody>
      </p:sp>
      <p:sp>
        <p:nvSpPr>
          <p:cNvPr id="46085" name="Slide Number Placeholder 3"/>
          <p:cNvSpPr txBox="1">
            <a:spLocks noGrp="1"/>
          </p:cNvSpPr>
          <p:nvPr/>
        </p:nvSpPr>
        <p:spPr bwMode="auto">
          <a:xfrm>
            <a:off x="4144710" y="9120836"/>
            <a:ext cx="3170490" cy="480366"/>
          </a:xfrm>
          <a:prstGeom prst="rect">
            <a:avLst/>
          </a:prstGeom>
          <a:noFill/>
          <a:ln w="9525">
            <a:noFill/>
            <a:miter lim="800000"/>
            <a:headEnd/>
            <a:tailEnd/>
          </a:ln>
        </p:spPr>
        <p:txBody>
          <a:bodyPr lIns="96661" tIns="48331" rIns="96661" bIns="48331" anchor="b"/>
          <a:lstStyle/>
          <a:p>
            <a:pPr algn="r" eaLnBrk="0" hangingPunct="0">
              <a:spcBef>
                <a:spcPct val="0"/>
              </a:spcBef>
            </a:pPr>
            <a:fld id="{99868DBA-5EA7-4DDB-B474-8A2272AB207C}" type="slidenum">
              <a:rPr lang="de-DE" sz="1300">
                <a:solidFill>
                  <a:prstClr val="black"/>
                </a:solidFill>
                <a:ea typeface="ＭＳ Ｐゴシック" pitchFamily="34" charset="-128"/>
                <a:cs typeface="Arial" charset="0"/>
              </a:rPr>
              <a:pPr algn="r" eaLnBrk="0" hangingPunct="0">
                <a:spcBef>
                  <a:spcPct val="0"/>
                </a:spcBef>
              </a:pPr>
              <a:t>6</a:t>
            </a:fld>
            <a:endParaRPr lang="de-DE" sz="130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26"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663" r:id="rId17"/>
    <p:sldLayoutId id="2147483667" r:id="rId18"/>
    <p:sldLayoutId id="2147483677" r:id="rId19"/>
    <p:sldLayoutId id="2147483678" r:id="rId20"/>
    <p:sldLayoutId id="2147483784" r:id="rId21"/>
    <p:sldLayoutId id="2147483785" r:id="rId22"/>
    <p:sldLayoutId id="2147483786" r:id="rId23"/>
    <p:sldLayoutId id="2147483787" r:id="rId24"/>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5.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5.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117" Type="http://schemas.openxmlformats.org/officeDocument/2006/relationships/tags" Target="../tags/tag119.xml"/><Relationship Id="rId299" Type="http://schemas.openxmlformats.org/officeDocument/2006/relationships/tags" Target="../tags/tag301.xml"/><Relationship Id="rId303" Type="http://schemas.openxmlformats.org/officeDocument/2006/relationships/tags" Target="../tags/tag305.xml"/><Relationship Id="rId21" Type="http://schemas.openxmlformats.org/officeDocument/2006/relationships/tags" Target="../tags/tag23.xml"/><Relationship Id="rId42" Type="http://schemas.openxmlformats.org/officeDocument/2006/relationships/tags" Target="../tags/tag44.xml"/><Relationship Id="rId63" Type="http://schemas.openxmlformats.org/officeDocument/2006/relationships/tags" Target="../tags/tag65.xml"/><Relationship Id="rId84" Type="http://schemas.openxmlformats.org/officeDocument/2006/relationships/tags" Target="../tags/tag86.xml"/><Relationship Id="rId138" Type="http://schemas.openxmlformats.org/officeDocument/2006/relationships/tags" Target="../tags/tag140.xml"/><Relationship Id="rId159" Type="http://schemas.openxmlformats.org/officeDocument/2006/relationships/tags" Target="../tags/tag161.xml"/><Relationship Id="rId324" Type="http://schemas.openxmlformats.org/officeDocument/2006/relationships/tags" Target="../tags/tag326.xml"/><Relationship Id="rId345" Type="http://schemas.openxmlformats.org/officeDocument/2006/relationships/tags" Target="../tags/tag347.xml"/><Relationship Id="rId366" Type="http://schemas.openxmlformats.org/officeDocument/2006/relationships/tags" Target="../tags/tag368.xml"/><Relationship Id="rId170" Type="http://schemas.openxmlformats.org/officeDocument/2006/relationships/tags" Target="../tags/tag172.xml"/><Relationship Id="rId191" Type="http://schemas.openxmlformats.org/officeDocument/2006/relationships/tags" Target="../tags/tag193.xml"/><Relationship Id="rId205" Type="http://schemas.openxmlformats.org/officeDocument/2006/relationships/tags" Target="../tags/tag207.xml"/><Relationship Id="rId226" Type="http://schemas.openxmlformats.org/officeDocument/2006/relationships/tags" Target="../tags/tag228.xml"/><Relationship Id="rId247" Type="http://schemas.openxmlformats.org/officeDocument/2006/relationships/tags" Target="../tags/tag249.xml"/><Relationship Id="rId107" Type="http://schemas.openxmlformats.org/officeDocument/2006/relationships/tags" Target="../tags/tag109.xml"/><Relationship Id="rId268" Type="http://schemas.openxmlformats.org/officeDocument/2006/relationships/tags" Target="../tags/tag270.xml"/><Relationship Id="rId289" Type="http://schemas.openxmlformats.org/officeDocument/2006/relationships/tags" Target="../tags/tag291.xml"/><Relationship Id="rId11" Type="http://schemas.openxmlformats.org/officeDocument/2006/relationships/tags" Target="../tags/tag13.xml"/><Relationship Id="rId32" Type="http://schemas.openxmlformats.org/officeDocument/2006/relationships/tags" Target="../tags/tag34.xml"/><Relationship Id="rId53" Type="http://schemas.openxmlformats.org/officeDocument/2006/relationships/tags" Target="../tags/tag55.xml"/><Relationship Id="rId74" Type="http://schemas.openxmlformats.org/officeDocument/2006/relationships/tags" Target="../tags/tag76.xml"/><Relationship Id="rId128" Type="http://schemas.openxmlformats.org/officeDocument/2006/relationships/tags" Target="../tags/tag130.xml"/><Relationship Id="rId149" Type="http://schemas.openxmlformats.org/officeDocument/2006/relationships/tags" Target="../tags/tag151.xml"/><Relationship Id="rId314" Type="http://schemas.openxmlformats.org/officeDocument/2006/relationships/tags" Target="../tags/tag316.xml"/><Relationship Id="rId335" Type="http://schemas.openxmlformats.org/officeDocument/2006/relationships/tags" Target="../tags/tag337.xml"/><Relationship Id="rId356" Type="http://schemas.openxmlformats.org/officeDocument/2006/relationships/tags" Target="../tags/tag358.xml"/><Relationship Id="rId377" Type="http://schemas.openxmlformats.org/officeDocument/2006/relationships/tags" Target="../tags/tag379.xml"/><Relationship Id="rId5" Type="http://schemas.openxmlformats.org/officeDocument/2006/relationships/tags" Target="../tags/tag7.xml"/><Relationship Id="rId95" Type="http://schemas.openxmlformats.org/officeDocument/2006/relationships/tags" Target="../tags/tag97.xml"/><Relationship Id="rId160" Type="http://schemas.openxmlformats.org/officeDocument/2006/relationships/tags" Target="../tags/tag162.xml"/><Relationship Id="rId181" Type="http://schemas.openxmlformats.org/officeDocument/2006/relationships/tags" Target="../tags/tag183.xml"/><Relationship Id="rId216" Type="http://schemas.openxmlformats.org/officeDocument/2006/relationships/tags" Target="../tags/tag218.xml"/><Relationship Id="rId237" Type="http://schemas.openxmlformats.org/officeDocument/2006/relationships/tags" Target="../tags/tag239.xml"/><Relationship Id="rId258" Type="http://schemas.openxmlformats.org/officeDocument/2006/relationships/tags" Target="../tags/tag260.xml"/><Relationship Id="rId279" Type="http://schemas.openxmlformats.org/officeDocument/2006/relationships/tags" Target="../tags/tag281.xml"/><Relationship Id="rId22" Type="http://schemas.openxmlformats.org/officeDocument/2006/relationships/tags" Target="../tags/tag24.xml"/><Relationship Id="rId43" Type="http://schemas.openxmlformats.org/officeDocument/2006/relationships/tags" Target="../tags/tag45.xml"/><Relationship Id="rId64" Type="http://schemas.openxmlformats.org/officeDocument/2006/relationships/tags" Target="../tags/tag66.xml"/><Relationship Id="rId118" Type="http://schemas.openxmlformats.org/officeDocument/2006/relationships/tags" Target="../tags/tag120.xml"/><Relationship Id="rId139" Type="http://schemas.openxmlformats.org/officeDocument/2006/relationships/tags" Target="../tags/tag141.xml"/><Relationship Id="rId290" Type="http://schemas.openxmlformats.org/officeDocument/2006/relationships/tags" Target="../tags/tag292.xml"/><Relationship Id="rId304" Type="http://schemas.openxmlformats.org/officeDocument/2006/relationships/tags" Target="../tags/tag306.xml"/><Relationship Id="rId325" Type="http://schemas.openxmlformats.org/officeDocument/2006/relationships/tags" Target="../tags/tag327.xml"/><Relationship Id="rId346" Type="http://schemas.openxmlformats.org/officeDocument/2006/relationships/tags" Target="../tags/tag348.xml"/><Relationship Id="rId367" Type="http://schemas.openxmlformats.org/officeDocument/2006/relationships/tags" Target="../tags/tag369.xml"/><Relationship Id="rId85" Type="http://schemas.openxmlformats.org/officeDocument/2006/relationships/tags" Target="../tags/tag87.xml"/><Relationship Id="rId150" Type="http://schemas.openxmlformats.org/officeDocument/2006/relationships/tags" Target="../tags/tag152.xml"/><Relationship Id="rId171" Type="http://schemas.openxmlformats.org/officeDocument/2006/relationships/tags" Target="../tags/tag173.xml"/><Relationship Id="rId192" Type="http://schemas.openxmlformats.org/officeDocument/2006/relationships/tags" Target="../tags/tag194.xml"/><Relationship Id="rId206" Type="http://schemas.openxmlformats.org/officeDocument/2006/relationships/tags" Target="../tags/tag208.xml"/><Relationship Id="rId227" Type="http://schemas.openxmlformats.org/officeDocument/2006/relationships/tags" Target="../tags/tag229.xml"/><Relationship Id="rId248" Type="http://schemas.openxmlformats.org/officeDocument/2006/relationships/tags" Target="../tags/tag250.xml"/><Relationship Id="rId269" Type="http://schemas.openxmlformats.org/officeDocument/2006/relationships/tags" Target="../tags/tag271.xml"/><Relationship Id="rId12" Type="http://schemas.openxmlformats.org/officeDocument/2006/relationships/tags" Target="../tags/tag14.xml"/><Relationship Id="rId33" Type="http://schemas.openxmlformats.org/officeDocument/2006/relationships/tags" Target="../tags/tag35.xml"/><Relationship Id="rId108" Type="http://schemas.openxmlformats.org/officeDocument/2006/relationships/tags" Target="../tags/tag110.xml"/><Relationship Id="rId129" Type="http://schemas.openxmlformats.org/officeDocument/2006/relationships/tags" Target="../tags/tag131.xml"/><Relationship Id="rId280" Type="http://schemas.openxmlformats.org/officeDocument/2006/relationships/tags" Target="../tags/tag282.xml"/><Relationship Id="rId315" Type="http://schemas.openxmlformats.org/officeDocument/2006/relationships/tags" Target="../tags/tag317.xml"/><Relationship Id="rId336" Type="http://schemas.openxmlformats.org/officeDocument/2006/relationships/tags" Target="../tags/tag338.xml"/><Relationship Id="rId357" Type="http://schemas.openxmlformats.org/officeDocument/2006/relationships/tags" Target="../tags/tag359.xml"/><Relationship Id="rId54" Type="http://schemas.openxmlformats.org/officeDocument/2006/relationships/tags" Target="../tags/tag56.xml"/><Relationship Id="rId75" Type="http://schemas.openxmlformats.org/officeDocument/2006/relationships/tags" Target="../tags/tag77.xml"/><Relationship Id="rId96" Type="http://schemas.openxmlformats.org/officeDocument/2006/relationships/tags" Target="../tags/tag98.xml"/><Relationship Id="rId140" Type="http://schemas.openxmlformats.org/officeDocument/2006/relationships/tags" Target="../tags/tag142.xml"/><Relationship Id="rId161" Type="http://schemas.openxmlformats.org/officeDocument/2006/relationships/tags" Target="../tags/tag163.xml"/><Relationship Id="rId182" Type="http://schemas.openxmlformats.org/officeDocument/2006/relationships/tags" Target="../tags/tag184.xml"/><Relationship Id="rId217" Type="http://schemas.openxmlformats.org/officeDocument/2006/relationships/tags" Target="../tags/tag219.xml"/><Relationship Id="rId378" Type="http://schemas.openxmlformats.org/officeDocument/2006/relationships/tags" Target="../tags/tag380.xml"/><Relationship Id="rId6" Type="http://schemas.openxmlformats.org/officeDocument/2006/relationships/tags" Target="../tags/tag8.xml"/><Relationship Id="rId238" Type="http://schemas.openxmlformats.org/officeDocument/2006/relationships/tags" Target="../tags/tag240.xml"/><Relationship Id="rId259" Type="http://schemas.openxmlformats.org/officeDocument/2006/relationships/tags" Target="../tags/tag261.xml"/><Relationship Id="rId23" Type="http://schemas.openxmlformats.org/officeDocument/2006/relationships/tags" Target="../tags/tag25.xml"/><Relationship Id="rId119" Type="http://schemas.openxmlformats.org/officeDocument/2006/relationships/tags" Target="../tags/tag121.xml"/><Relationship Id="rId270" Type="http://schemas.openxmlformats.org/officeDocument/2006/relationships/tags" Target="../tags/tag272.xml"/><Relationship Id="rId291" Type="http://schemas.openxmlformats.org/officeDocument/2006/relationships/tags" Target="../tags/tag293.xml"/><Relationship Id="rId305" Type="http://schemas.openxmlformats.org/officeDocument/2006/relationships/tags" Target="../tags/tag307.xml"/><Relationship Id="rId326" Type="http://schemas.openxmlformats.org/officeDocument/2006/relationships/tags" Target="../tags/tag328.xml"/><Relationship Id="rId347" Type="http://schemas.openxmlformats.org/officeDocument/2006/relationships/tags" Target="../tags/tag349.xml"/><Relationship Id="rId44" Type="http://schemas.openxmlformats.org/officeDocument/2006/relationships/tags" Target="../tags/tag46.xml"/><Relationship Id="rId65" Type="http://schemas.openxmlformats.org/officeDocument/2006/relationships/tags" Target="../tags/tag67.xml"/><Relationship Id="rId86" Type="http://schemas.openxmlformats.org/officeDocument/2006/relationships/tags" Target="../tags/tag88.xml"/><Relationship Id="rId130" Type="http://schemas.openxmlformats.org/officeDocument/2006/relationships/tags" Target="../tags/tag132.xml"/><Relationship Id="rId151" Type="http://schemas.openxmlformats.org/officeDocument/2006/relationships/tags" Target="../tags/tag153.xml"/><Relationship Id="rId368" Type="http://schemas.openxmlformats.org/officeDocument/2006/relationships/tags" Target="../tags/tag370.xml"/><Relationship Id="rId172" Type="http://schemas.openxmlformats.org/officeDocument/2006/relationships/tags" Target="../tags/tag174.xml"/><Relationship Id="rId193" Type="http://schemas.openxmlformats.org/officeDocument/2006/relationships/tags" Target="../tags/tag195.xml"/><Relationship Id="rId207" Type="http://schemas.openxmlformats.org/officeDocument/2006/relationships/tags" Target="../tags/tag209.xml"/><Relationship Id="rId228" Type="http://schemas.openxmlformats.org/officeDocument/2006/relationships/tags" Target="../tags/tag230.xml"/><Relationship Id="rId249" Type="http://schemas.openxmlformats.org/officeDocument/2006/relationships/tags" Target="../tags/tag251.xml"/><Relationship Id="rId13" Type="http://schemas.openxmlformats.org/officeDocument/2006/relationships/tags" Target="../tags/tag15.xml"/><Relationship Id="rId109" Type="http://schemas.openxmlformats.org/officeDocument/2006/relationships/tags" Target="../tags/tag111.xml"/><Relationship Id="rId260" Type="http://schemas.openxmlformats.org/officeDocument/2006/relationships/tags" Target="../tags/tag262.xml"/><Relationship Id="rId281" Type="http://schemas.openxmlformats.org/officeDocument/2006/relationships/tags" Target="../tags/tag283.xml"/><Relationship Id="rId316" Type="http://schemas.openxmlformats.org/officeDocument/2006/relationships/tags" Target="../tags/tag318.xml"/><Relationship Id="rId337" Type="http://schemas.openxmlformats.org/officeDocument/2006/relationships/tags" Target="../tags/tag339.xml"/><Relationship Id="rId34" Type="http://schemas.openxmlformats.org/officeDocument/2006/relationships/tags" Target="../tags/tag36.xml"/><Relationship Id="rId55" Type="http://schemas.openxmlformats.org/officeDocument/2006/relationships/tags" Target="../tags/tag57.xml"/><Relationship Id="rId76" Type="http://schemas.openxmlformats.org/officeDocument/2006/relationships/tags" Target="../tags/tag78.xml"/><Relationship Id="rId97" Type="http://schemas.openxmlformats.org/officeDocument/2006/relationships/tags" Target="../tags/tag99.xml"/><Relationship Id="rId120" Type="http://schemas.openxmlformats.org/officeDocument/2006/relationships/tags" Target="../tags/tag122.xml"/><Relationship Id="rId141" Type="http://schemas.openxmlformats.org/officeDocument/2006/relationships/tags" Target="../tags/tag143.xml"/><Relationship Id="rId358" Type="http://schemas.openxmlformats.org/officeDocument/2006/relationships/tags" Target="../tags/tag360.xml"/><Relationship Id="rId379" Type="http://schemas.openxmlformats.org/officeDocument/2006/relationships/tags" Target="../tags/tag381.xml"/><Relationship Id="rId7" Type="http://schemas.openxmlformats.org/officeDocument/2006/relationships/tags" Target="../tags/tag9.xml"/><Relationship Id="rId162" Type="http://schemas.openxmlformats.org/officeDocument/2006/relationships/tags" Target="../tags/tag164.xml"/><Relationship Id="rId183" Type="http://schemas.openxmlformats.org/officeDocument/2006/relationships/tags" Target="../tags/tag185.xml"/><Relationship Id="rId218" Type="http://schemas.openxmlformats.org/officeDocument/2006/relationships/tags" Target="../tags/tag220.xml"/><Relationship Id="rId239" Type="http://schemas.openxmlformats.org/officeDocument/2006/relationships/tags" Target="../tags/tag241.xml"/><Relationship Id="rId250" Type="http://schemas.openxmlformats.org/officeDocument/2006/relationships/tags" Target="../tags/tag252.xml"/><Relationship Id="rId271" Type="http://schemas.openxmlformats.org/officeDocument/2006/relationships/tags" Target="../tags/tag273.xml"/><Relationship Id="rId292" Type="http://schemas.openxmlformats.org/officeDocument/2006/relationships/tags" Target="../tags/tag294.xml"/><Relationship Id="rId306" Type="http://schemas.openxmlformats.org/officeDocument/2006/relationships/tags" Target="../tags/tag308.xml"/><Relationship Id="rId24" Type="http://schemas.openxmlformats.org/officeDocument/2006/relationships/tags" Target="../tags/tag26.xml"/><Relationship Id="rId45" Type="http://schemas.openxmlformats.org/officeDocument/2006/relationships/tags" Target="../tags/tag47.xml"/><Relationship Id="rId66" Type="http://schemas.openxmlformats.org/officeDocument/2006/relationships/tags" Target="../tags/tag68.xml"/><Relationship Id="rId87" Type="http://schemas.openxmlformats.org/officeDocument/2006/relationships/tags" Target="../tags/tag89.xml"/><Relationship Id="rId110" Type="http://schemas.openxmlformats.org/officeDocument/2006/relationships/tags" Target="../tags/tag112.xml"/><Relationship Id="rId131" Type="http://schemas.openxmlformats.org/officeDocument/2006/relationships/tags" Target="../tags/tag133.xml"/><Relationship Id="rId327" Type="http://schemas.openxmlformats.org/officeDocument/2006/relationships/tags" Target="../tags/tag329.xml"/><Relationship Id="rId348" Type="http://schemas.openxmlformats.org/officeDocument/2006/relationships/tags" Target="../tags/tag350.xml"/><Relationship Id="rId369" Type="http://schemas.openxmlformats.org/officeDocument/2006/relationships/tags" Target="../tags/tag371.xml"/><Relationship Id="rId152" Type="http://schemas.openxmlformats.org/officeDocument/2006/relationships/tags" Target="../tags/tag154.xml"/><Relationship Id="rId173" Type="http://schemas.openxmlformats.org/officeDocument/2006/relationships/tags" Target="../tags/tag175.xml"/><Relationship Id="rId194" Type="http://schemas.openxmlformats.org/officeDocument/2006/relationships/tags" Target="../tags/tag196.xml"/><Relationship Id="rId208" Type="http://schemas.openxmlformats.org/officeDocument/2006/relationships/tags" Target="../tags/tag210.xml"/><Relationship Id="rId229" Type="http://schemas.openxmlformats.org/officeDocument/2006/relationships/tags" Target="../tags/tag231.xml"/><Relationship Id="rId380" Type="http://schemas.openxmlformats.org/officeDocument/2006/relationships/tags" Target="../tags/tag382.xml"/><Relationship Id="rId240" Type="http://schemas.openxmlformats.org/officeDocument/2006/relationships/tags" Target="../tags/tag242.xml"/><Relationship Id="rId261" Type="http://schemas.openxmlformats.org/officeDocument/2006/relationships/tags" Target="../tags/tag263.xml"/><Relationship Id="rId14" Type="http://schemas.openxmlformats.org/officeDocument/2006/relationships/tags" Target="../tags/tag16.xml"/><Relationship Id="rId35" Type="http://schemas.openxmlformats.org/officeDocument/2006/relationships/tags" Target="../tags/tag37.xml"/><Relationship Id="rId56" Type="http://schemas.openxmlformats.org/officeDocument/2006/relationships/tags" Target="../tags/tag58.xml"/><Relationship Id="rId77" Type="http://schemas.openxmlformats.org/officeDocument/2006/relationships/tags" Target="../tags/tag79.xml"/><Relationship Id="rId100" Type="http://schemas.openxmlformats.org/officeDocument/2006/relationships/tags" Target="../tags/tag102.xml"/><Relationship Id="rId282" Type="http://schemas.openxmlformats.org/officeDocument/2006/relationships/tags" Target="../tags/tag284.xml"/><Relationship Id="rId317" Type="http://schemas.openxmlformats.org/officeDocument/2006/relationships/tags" Target="../tags/tag319.xml"/><Relationship Id="rId338" Type="http://schemas.openxmlformats.org/officeDocument/2006/relationships/tags" Target="../tags/tag340.xml"/><Relationship Id="rId359" Type="http://schemas.openxmlformats.org/officeDocument/2006/relationships/tags" Target="../tags/tag361.xml"/><Relationship Id="rId8" Type="http://schemas.openxmlformats.org/officeDocument/2006/relationships/tags" Target="../tags/tag10.xml"/><Relationship Id="rId98" Type="http://schemas.openxmlformats.org/officeDocument/2006/relationships/tags" Target="../tags/tag100.xml"/><Relationship Id="rId121" Type="http://schemas.openxmlformats.org/officeDocument/2006/relationships/tags" Target="../tags/tag123.xml"/><Relationship Id="rId142" Type="http://schemas.openxmlformats.org/officeDocument/2006/relationships/tags" Target="../tags/tag144.xml"/><Relationship Id="rId163" Type="http://schemas.openxmlformats.org/officeDocument/2006/relationships/tags" Target="../tags/tag165.xml"/><Relationship Id="rId184" Type="http://schemas.openxmlformats.org/officeDocument/2006/relationships/tags" Target="../tags/tag186.xml"/><Relationship Id="rId219" Type="http://schemas.openxmlformats.org/officeDocument/2006/relationships/tags" Target="../tags/tag221.xml"/><Relationship Id="rId370" Type="http://schemas.openxmlformats.org/officeDocument/2006/relationships/tags" Target="../tags/tag372.xml"/><Relationship Id="rId230" Type="http://schemas.openxmlformats.org/officeDocument/2006/relationships/tags" Target="../tags/tag232.xml"/><Relationship Id="rId251" Type="http://schemas.openxmlformats.org/officeDocument/2006/relationships/tags" Target="../tags/tag253.xml"/><Relationship Id="rId25" Type="http://schemas.openxmlformats.org/officeDocument/2006/relationships/tags" Target="../tags/tag27.xml"/><Relationship Id="rId46" Type="http://schemas.openxmlformats.org/officeDocument/2006/relationships/tags" Target="../tags/tag48.xml"/><Relationship Id="rId67" Type="http://schemas.openxmlformats.org/officeDocument/2006/relationships/tags" Target="../tags/tag69.xml"/><Relationship Id="rId272" Type="http://schemas.openxmlformats.org/officeDocument/2006/relationships/tags" Target="../tags/tag274.xml"/><Relationship Id="rId293" Type="http://schemas.openxmlformats.org/officeDocument/2006/relationships/tags" Target="../tags/tag295.xml"/><Relationship Id="rId307" Type="http://schemas.openxmlformats.org/officeDocument/2006/relationships/tags" Target="../tags/tag309.xml"/><Relationship Id="rId328" Type="http://schemas.openxmlformats.org/officeDocument/2006/relationships/tags" Target="../tags/tag330.xml"/><Relationship Id="rId349" Type="http://schemas.openxmlformats.org/officeDocument/2006/relationships/tags" Target="../tags/tag351.xml"/><Relationship Id="rId88" Type="http://schemas.openxmlformats.org/officeDocument/2006/relationships/tags" Target="../tags/tag90.xml"/><Relationship Id="rId111" Type="http://schemas.openxmlformats.org/officeDocument/2006/relationships/tags" Target="../tags/tag113.xml"/><Relationship Id="rId132" Type="http://schemas.openxmlformats.org/officeDocument/2006/relationships/tags" Target="../tags/tag134.xml"/><Relationship Id="rId153" Type="http://schemas.openxmlformats.org/officeDocument/2006/relationships/tags" Target="../tags/tag155.xml"/><Relationship Id="rId174" Type="http://schemas.openxmlformats.org/officeDocument/2006/relationships/tags" Target="../tags/tag176.xml"/><Relationship Id="rId195" Type="http://schemas.openxmlformats.org/officeDocument/2006/relationships/tags" Target="../tags/tag197.xml"/><Relationship Id="rId209" Type="http://schemas.openxmlformats.org/officeDocument/2006/relationships/tags" Target="../tags/tag211.xml"/><Relationship Id="rId360" Type="http://schemas.openxmlformats.org/officeDocument/2006/relationships/tags" Target="../tags/tag362.xml"/><Relationship Id="rId381" Type="http://schemas.openxmlformats.org/officeDocument/2006/relationships/tags" Target="../tags/tag383.xml"/><Relationship Id="rId220" Type="http://schemas.openxmlformats.org/officeDocument/2006/relationships/tags" Target="../tags/tag222.xml"/><Relationship Id="rId241" Type="http://schemas.openxmlformats.org/officeDocument/2006/relationships/tags" Target="../tags/tag243.xml"/><Relationship Id="rId15" Type="http://schemas.openxmlformats.org/officeDocument/2006/relationships/tags" Target="../tags/tag17.xml"/><Relationship Id="rId36" Type="http://schemas.openxmlformats.org/officeDocument/2006/relationships/tags" Target="../tags/tag38.xml"/><Relationship Id="rId57" Type="http://schemas.openxmlformats.org/officeDocument/2006/relationships/tags" Target="../tags/tag59.xml"/><Relationship Id="rId262" Type="http://schemas.openxmlformats.org/officeDocument/2006/relationships/tags" Target="../tags/tag264.xml"/><Relationship Id="rId283" Type="http://schemas.openxmlformats.org/officeDocument/2006/relationships/tags" Target="../tags/tag285.xml"/><Relationship Id="rId318" Type="http://schemas.openxmlformats.org/officeDocument/2006/relationships/tags" Target="../tags/tag320.xml"/><Relationship Id="rId339" Type="http://schemas.openxmlformats.org/officeDocument/2006/relationships/tags" Target="../tags/tag341.xml"/><Relationship Id="rId78" Type="http://schemas.openxmlformats.org/officeDocument/2006/relationships/tags" Target="../tags/tag80.xml"/><Relationship Id="rId99" Type="http://schemas.openxmlformats.org/officeDocument/2006/relationships/tags" Target="../tags/tag101.xml"/><Relationship Id="rId101" Type="http://schemas.openxmlformats.org/officeDocument/2006/relationships/tags" Target="../tags/tag103.xml"/><Relationship Id="rId122" Type="http://schemas.openxmlformats.org/officeDocument/2006/relationships/tags" Target="../tags/tag124.xml"/><Relationship Id="rId143" Type="http://schemas.openxmlformats.org/officeDocument/2006/relationships/tags" Target="../tags/tag145.xml"/><Relationship Id="rId164" Type="http://schemas.openxmlformats.org/officeDocument/2006/relationships/tags" Target="../tags/tag166.xml"/><Relationship Id="rId185" Type="http://schemas.openxmlformats.org/officeDocument/2006/relationships/tags" Target="../tags/tag187.xml"/><Relationship Id="rId350" Type="http://schemas.openxmlformats.org/officeDocument/2006/relationships/tags" Target="../tags/tag352.xml"/><Relationship Id="rId371" Type="http://schemas.openxmlformats.org/officeDocument/2006/relationships/tags" Target="../tags/tag373.xml"/><Relationship Id="rId9" Type="http://schemas.openxmlformats.org/officeDocument/2006/relationships/tags" Target="../tags/tag11.xml"/><Relationship Id="rId210" Type="http://schemas.openxmlformats.org/officeDocument/2006/relationships/tags" Target="../tags/tag212.xml"/><Relationship Id="rId26" Type="http://schemas.openxmlformats.org/officeDocument/2006/relationships/tags" Target="../tags/tag28.xml"/><Relationship Id="rId231" Type="http://schemas.openxmlformats.org/officeDocument/2006/relationships/tags" Target="../tags/tag233.xml"/><Relationship Id="rId252" Type="http://schemas.openxmlformats.org/officeDocument/2006/relationships/tags" Target="../tags/tag254.xml"/><Relationship Id="rId273" Type="http://schemas.openxmlformats.org/officeDocument/2006/relationships/tags" Target="../tags/tag275.xml"/><Relationship Id="rId294" Type="http://schemas.openxmlformats.org/officeDocument/2006/relationships/tags" Target="../tags/tag296.xml"/><Relationship Id="rId308" Type="http://schemas.openxmlformats.org/officeDocument/2006/relationships/tags" Target="../tags/tag310.xml"/><Relationship Id="rId329" Type="http://schemas.openxmlformats.org/officeDocument/2006/relationships/tags" Target="../tags/tag331.xml"/><Relationship Id="rId47" Type="http://schemas.openxmlformats.org/officeDocument/2006/relationships/tags" Target="../tags/tag49.xml"/><Relationship Id="rId68" Type="http://schemas.openxmlformats.org/officeDocument/2006/relationships/tags" Target="../tags/tag70.xml"/><Relationship Id="rId89" Type="http://schemas.openxmlformats.org/officeDocument/2006/relationships/tags" Target="../tags/tag91.xml"/><Relationship Id="rId112" Type="http://schemas.openxmlformats.org/officeDocument/2006/relationships/tags" Target="../tags/tag114.xml"/><Relationship Id="rId133" Type="http://schemas.openxmlformats.org/officeDocument/2006/relationships/tags" Target="../tags/tag135.xml"/><Relationship Id="rId154" Type="http://schemas.openxmlformats.org/officeDocument/2006/relationships/tags" Target="../tags/tag156.xml"/><Relationship Id="rId175" Type="http://schemas.openxmlformats.org/officeDocument/2006/relationships/tags" Target="../tags/tag177.xml"/><Relationship Id="rId340" Type="http://schemas.openxmlformats.org/officeDocument/2006/relationships/tags" Target="../tags/tag342.xml"/><Relationship Id="rId361" Type="http://schemas.openxmlformats.org/officeDocument/2006/relationships/tags" Target="../tags/tag363.xml"/><Relationship Id="rId196" Type="http://schemas.openxmlformats.org/officeDocument/2006/relationships/tags" Target="../tags/tag198.xml"/><Relationship Id="rId200" Type="http://schemas.openxmlformats.org/officeDocument/2006/relationships/tags" Target="../tags/tag202.xml"/><Relationship Id="rId382" Type="http://schemas.openxmlformats.org/officeDocument/2006/relationships/slideLayout" Target="../slideLayouts/slideLayout5.xml"/><Relationship Id="rId16" Type="http://schemas.openxmlformats.org/officeDocument/2006/relationships/tags" Target="../tags/tag18.xml"/><Relationship Id="rId221" Type="http://schemas.openxmlformats.org/officeDocument/2006/relationships/tags" Target="../tags/tag223.xml"/><Relationship Id="rId242" Type="http://schemas.openxmlformats.org/officeDocument/2006/relationships/tags" Target="../tags/tag244.xml"/><Relationship Id="rId263" Type="http://schemas.openxmlformats.org/officeDocument/2006/relationships/tags" Target="../tags/tag265.xml"/><Relationship Id="rId284" Type="http://schemas.openxmlformats.org/officeDocument/2006/relationships/tags" Target="../tags/tag286.xml"/><Relationship Id="rId319" Type="http://schemas.openxmlformats.org/officeDocument/2006/relationships/tags" Target="../tags/tag321.xml"/><Relationship Id="rId37" Type="http://schemas.openxmlformats.org/officeDocument/2006/relationships/tags" Target="../tags/tag39.xml"/><Relationship Id="rId58" Type="http://schemas.openxmlformats.org/officeDocument/2006/relationships/tags" Target="../tags/tag60.xml"/><Relationship Id="rId79" Type="http://schemas.openxmlformats.org/officeDocument/2006/relationships/tags" Target="../tags/tag81.xml"/><Relationship Id="rId102" Type="http://schemas.openxmlformats.org/officeDocument/2006/relationships/tags" Target="../tags/tag104.xml"/><Relationship Id="rId123" Type="http://schemas.openxmlformats.org/officeDocument/2006/relationships/tags" Target="../tags/tag125.xml"/><Relationship Id="rId144" Type="http://schemas.openxmlformats.org/officeDocument/2006/relationships/tags" Target="../tags/tag146.xml"/><Relationship Id="rId330" Type="http://schemas.openxmlformats.org/officeDocument/2006/relationships/tags" Target="../tags/tag332.xml"/><Relationship Id="rId90" Type="http://schemas.openxmlformats.org/officeDocument/2006/relationships/tags" Target="../tags/tag92.xml"/><Relationship Id="rId165" Type="http://schemas.openxmlformats.org/officeDocument/2006/relationships/tags" Target="../tags/tag167.xml"/><Relationship Id="rId186" Type="http://schemas.openxmlformats.org/officeDocument/2006/relationships/tags" Target="../tags/tag188.xml"/><Relationship Id="rId351" Type="http://schemas.openxmlformats.org/officeDocument/2006/relationships/tags" Target="../tags/tag353.xml"/><Relationship Id="rId372" Type="http://schemas.openxmlformats.org/officeDocument/2006/relationships/tags" Target="../tags/tag374.xml"/><Relationship Id="rId211" Type="http://schemas.openxmlformats.org/officeDocument/2006/relationships/tags" Target="../tags/tag213.xml"/><Relationship Id="rId232" Type="http://schemas.openxmlformats.org/officeDocument/2006/relationships/tags" Target="../tags/tag234.xml"/><Relationship Id="rId253" Type="http://schemas.openxmlformats.org/officeDocument/2006/relationships/tags" Target="../tags/tag255.xml"/><Relationship Id="rId274" Type="http://schemas.openxmlformats.org/officeDocument/2006/relationships/tags" Target="../tags/tag276.xml"/><Relationship Id="rId295" Type="http://schemas.openxmlformats.org/officeDocument/2006/relationships/tags" Target="../tags/tag297.xml"/><Relationship Id="rId309" Type="http://schemas.openxmlformats.org/officeDocument/2006/relationships/tags" Target="../tags/tag311.xml"/><Relationship Id="rId27" Type="http://schemas.openxmlformats.org/officeDocument/2006/relationships/tags" Target="../tags/tag29.xml"/><Relationship Id="rId48" Type="http://schemas.openxmlformats.org/officeDocument/2006/relationships/tags" Target="../tags/tag50.xml"/><Relationship Id="rId69" Type="http://schemas.openxmlformats.org/officeDocument/2006/relationships/tags" Target="../tags/tag71.xml"/><Relationship Id="rId113" Type="http://schemas.openxmlformats.org/officeDocument/2006/relationships/tags" Target="../tags/tag115.xml"/><Relationship Id="rId134" Type="http://schemas.openxmlformats.org/officeDocument/2006/relationships/tags" Target="../tags/tag136.xml"/><Relationship Id="rId320" Type="http://schemas.openxmlformats.org/officeDocument/2006/relationships/tags" Target="../tags/tag322.xml"/><Relationship Id="rId80" Type="http://schemas.openxmlformats.org/officeDocument/2006/relationships/tags" Target="../tags/tag82.xml"/><Relationship Id="rId155" Type="http://schemas.openxmlformats.org/officeDocument/2006/relationships/tags" Target="../tags/tag157.xml"/><Relationship Id="rId176" Type="http://schemas.openxmlformats.org/officeDocument/2006/relationships/tags" Target="../tags/tag178.xml"/><Relationship Id="rId197" Type="http://schemas.openxmlformats.org/officeDocument/2006/relationships/tags" Target="../tags/tag199.xml"/><Relationship Id="rId341" Type="http://schemas.openxmlformats.org/officeDocument/2006/relationships/tags" Target="../tags/tag343.xml"/><Relationship Id="rId362" Type="http://schemas.openxmlformats.org/officeDocument/2006/relationships/tags" Target="../tags/tag364.xml"/><Relationship Id="rId383" Type="http://schemas.openxmlformats.org/officeDocument/2006/relationships/notesSlide" Target="../notesSlides/notesSlide2.xml"/><Relationship Id="rId201" Type="http://schemas.openxmlformats.org/officeDocument/2006/relationships/tags" Target="../tags/tag203.xml"/><Relationship Id="rId222" Type="http://schemas.openxmlformats.org/officeDocument/2006/relationships/tags" Target="../tags/tag224.xml"/><Relationship Id="rId243" Type="http://schemas.openxmlformats.org/officeDocument/2006/relationships/tags" Target="../tags/tag245.xml"/><Relationship Id="rId264" Type="http://schemas.openxmlformats.org/officeDocument/2006/relationships/tags" Target="../tags/tag266.xml"/><Relationship Id="rId285" Type="http://schemas.openxmlformats.org/officeDocument/2006/relationships/tags" Target="../tags/tag287.xml"/><Relationship Id="rId17" Type="http://schemas.openxmlformats.org/officeDocument/2006/relationships/tags" Target="../tags/tag19.xml"/><Relationship Id="rId38" Type="http://schemas.openxmlformats.org/officeDocument/2006/relationships/tags" Target="../tags/tag40.xml"/><Relationship Id="rId59" Type="http://schemas.openxmlformats.org/officeDocument/2006/relationships/tags" Target="../tags/tag61.xml"/><Relationship Id="rId103" Type="http://schemas.openxmlformats.org/officeDocument/2006/relationships/tags" Target="../tags/tag105.xml"/><Relationship Id="rId124" Type="http://schemas.openxmlformats.org/officeDocument/2006/relationships/tags" Target="../tags/tag126.xml"/><Relationship Id="rId310" Type="http://schemas.openxmlformats.org/officeDocument/2006/relationships/tags" Target="../tags/tag312.xml"/><Relationship Id="rId70" Type="http://schemas.openxmlformats.org/officeDocument/2006/relationships/tags" Target="../tags/tag72.xml"/><Relationship Id="rId91" Type="http://schemas.openxmlformats.org/officeDocument/2006/relationships/tags" Target="../tags/tag93.xml"/><Relationship Id="rId145" Type="http://schemas.openxmlformats.org/officeDocument/2006/relationships/tags" Target="../tags/tag147.xml"/><Relationship Id="rId166" Type="http://schemas.openxmlformats.org/officeDocument/2006/relationships/tags" Target="../tags/tag168.xml"/><Relationship Id="rId187" Type="http://schemas.openxmlformats.org/officeDocument/2006/relationships/tags" Target="../tags/tag189.xml"/><Relationship Id="rId331" Type="http://schemas.openxmlformats.org/officeDocument/2006/relationships/tags" Target="../tags/tag333.xml"/><Relationship Id="rId352" Type="http://schemas.openxmlformats.org/officeDocument/2006/relationships/tags" Target="../tags/tag354.xml"/><Relationship Id="rId373" Type="http://schemas.openxmlformats.org/officeDocument/2006/relationships/tags" Target="../tags/tag375.xml"/><Relationship Id="rId1" Type="http://schemas.openxmlformats.org/officeDocument/2006/relationships/tags" Target="../tags/tag3.xml"/><Relationship Id="rId212" Type="http://schemas.openxmlformats.org/officeDocument/2006/relationships/tags" Target="../tags/tag214.xml"/><Relationship Id="rId233" Type="http://schemas.openxmlformats.org/officeDocument/2006/relationships/tags" Target="../tags/tag235.xml"/><Relationship Id="rId254" Type="http://schemas.openxmlformats.org/officeDocument/2006/relationships/tags" Target="../tags/tag256.xml"/><Relationship Id="rId28" Type="http://schemas.openxmlformats.org/officeDocument/2006/relationships/tags" Target="../tags/tag30.xml"/><Relationship Id="rId49" Type="http://schemas.openxmlformats.org/officeDocument/2006/relationships/tags" Target="../tags/tag51.xml"/><Relationship Id="rId114" Type="http://schemas.openxmlformats.org/officeDocument/2006/relationships/tags" Target="../tags/tag116.xml"/><Relationship Id="rId275" Type="http://schemas.openxmlformats.org/officeDocument/2006/relationships/tags" Target="../tags/tag277.xml"/><Relationship Id="rId296" Type="http://schemas.openxmlformats.org/officeDocument/2006/relationships/tags" Target="../tags/tag298.xml"/><Relationship Id="rId300" Type="http://schemas.openxmlformats.org/officeDocument/2006/relationships/tags" Target="../tags/tag302.xml"/><Relationship Id="rId60" Type="http://schemas.openxmlformats.org/officeDocument/2006/relationships/tags" Target="../tags/tag62.xml"/><Relationship Id="rId81" Type="http://schemas.openxmlformats.org/officeDocument/2006/relationships/tags" Target="../tags/tag83.xml"/><Relationship Id="rId135" Type="http://schemas.openxmlformats.org/officeDocument/2006/relationships/tags" Target="../tags/tag137.xml"/><Relationship Id="rId156" Type="http://schemas.openxmlformats.org/officeDocument/2006/relationships/tags" Target="../tags/tag158.xml"/><Relationship Id="rId177" Type="http://schemas.openxmlformats.org/officeDocument/2006/relationships/tags" Target="../tags/tag179.xml"/><Relationship Id="rId198" Type="http://schemas.openxmlformats.org/officeDocument/2006/relationships/tags" Target="../tags/tag200.xml"/><Relationship Id="rId321" Type="http://schemas.openxmlformats.org/officeDocument/2006/relationships/tags" Target="../tags/tag323.xml"/><Relationship Id="rId342" Type="http://schemas.openxmlformats.org/officeDocument/2006/relationships/tags" Target="../tags/tag344.xml"/><Relationship Id="rId363" Type="http://schemas.openxmlformats.org/officeDocument/2006/relationships/tags" Target="../tags/tag365.xml"/><Relationship Id="rId202" Type="http://schemas.openxmlformats.org/officeDocument/2006/relationships/tags" Target="../tags/tag204.xml"/><Relationship Id="rId223" Type="http://schemas.openxmlformats.org/officeDocument/2006/relationships/tags" Target="../tags/tag225.xml"/><Relationship Id="rId244" Type="http://schemas.openxmlformats.org/officeDocument/2006/relationships/tags" Target="../tags/tag246.xml"/><Relationship Id="rId18" Type="http://schemas.openxmlformats.org/officeDocument/2006/relationships/tags" Target="../tags/tag20.xml"/><Relationship Id="rId39" Type="http://schemas.openxmlformats.org/officeDocument/2006/relationships/tags" Target="../tags/tag41.xml"/><Relationship Id="rId265" Type="http://schemas.openxmlformats.org/officeDocument/2006/relationships/tags" Target="../tags/tag267.xml"/><Relationship Id="rId286" Type="http://schemas.openxmlformats.org/officeDocument/2006/relationships/tags" Target="../tags/tag288.xml"/><Relationship Id="rId50" Type="http://schemas.openxmlformats.org/officeDocument/2006/relationships/tags" Target="../tags/tag52.xml"/><Relationship Id="rId104" Type="http://schemas.openxmlformats.org/officeDocument/2006/relationships/tags" Target="../tags/tag106.xml"/><Relationship Id="rId125" Type="http://schemas.openxmlformats.org/officeDocument/2006/relationships/tags" Target="../tags/tag127.xml"/><Relationship Id="rId146" Type="http://schemas.openxmlformats.org/officeDocument/2006/relationships/tags" Target="../tags/tag148.xml"/><Relationship Id="rId167" Type="http://schemas.openxmlformats.org/officeDocument/2006/relationships/tags" Target="../tags/tag169.xml"/><Relationship Id="rId188" Type="http://schemas.openxmlformats.org/officeDocument/2006/relationships/tags" Target="../tags/tag190.xml"/><Relationship Id="rId311" Type="http://schemas.openxmlformats.org/officeDocument/2006/relationships/tags" Target="../tags/tag313.xml"/><Relationship Id="rId332" Type="http://schemas.openxmlformats.org/officeDocument/2006/relationships/tags" Target="../tags/tag334.xml"/><Relationship Id="rId353" Type="http://schemas.openxmlformats.org/officeDocument/2006/relationships/tags" Target="../tags/tag355.xml"/><Relationship Id="rId374" Type="http://schemas.openxmlformats.org/officeDocument/2006/relationships/tags" Target="../tags/tag376.xml"/><Relationship Id="rId71" Type="http://schemas.openxmlformats.org/officeDocument/2006/relationships/tags" Target="../tags/tag73.xml"/><Relationship Id="rId92" Type="http://schemas.openxmlformats.org/officeDocument/2006/relationships/tags" Target="../tags/tag94.xml"/><Relationship Id="rId213" Type="http://schemas.openxmlformats.org/officeDocument/2006/relationships/tags" Target="../tags/tag215.xml"/><Relationship Id="rId234" Type="http://schemas.openxmlformats.org/officeDocument/2006/relationships/tags" Target="../tags/tag236.xml"/><Relationship Id="rId2" Type="http://schemas.openxmlformats.org/officeDocument/2006/relationships/tags" Target="../tags/tag4.xml"/><Relationship Id="rId29" Type="http://schemas.openxmlformats.org/officeDocument/2006/relationships/tags" Target="../tags/tag31.xml"/><Relationship Id="rId255" Type="http://schemas.openxmlformats.org/officeDocument/2006/relationships/tags" Target="../tags/tag257.xml"/><Relationship Id="rId276" Type="http://schemas.openxmlformats.org/officeDocument/2006/relationships/tags" Target="../tags/tag278.xml"/><Relationship Id="rId297" Type="http://schemas.openxmlformats.org/officeDocument/2006/relationships/tags" Target="../tags/tag299.xml"/><Relationship Id="rId40" Type="http://schemas.openxmlformats.org/officeDocument/2006/relationships/tags" Target="../tags/tag42.xml"/><Relationship Id="rId115" Type="http://schemas.openxmlformats.org/officeDocument/2006/relationships/tags" Target="../tags/tag117.xml"/><Relationship Id="rId136" Type="http://schemas.openxmlformats.org/officeDocument/2006/relationships/tags" Target="../tags/tag138.xml"/><Relationship Id="rId157" Type="http://schemas.openxmlformats.org/officeDocument/2006/relationships/tags" Target="../tags/tag159.xml"/><Relationship Id="rId178" Type="http://schemas.openxmlformats.org/officeDocument/2006/relationships/tags" Target="../tags/tag180.xml"/><Relationship Id="rId301" Type="http://schemas.openxmlformats.org/officeDocument/2006/relationships/tags" Target="../tags/tag303.xml"/><Relationship Id="rId322" Type="http://schemas.openxmlformats.org/officeDocument/2006/relationships/tags" Target="../tags/tag324.xml"/><Relationship Id="rId343" Type="http://schemas.openxmlformats.org/officeDocument/2006/relationships/tags" Target="../tags/tag345.xml"/><Relationship Id="rId364" Type="http://schemas.openxmlformats.org/officeDocument/2006/relationships/tags" Target="../tags/tag366.xml"/><Relationship Id="rId61" Type="http://schemas.openxmlformats.org/officeDocument/2006/relationships/tags" Target="../tags/tag63.xml"/><Relationship Id="rId82" Type="http://schemas.openxmlformats.org/officeDocument/2006/relationships/tags" Target="../tags/tag84.xml"/><Relationship Id="rId199" Type="http://schemas.openxmlformats.org/officeDocument/2006/relationships/tags" Target="../tags/tag201.xml"/><Relationship Id="rId203" Type="http://schemas.openxmlformats.org/officeDocument/2006/relationships/tags" Target="../tags/tag205.xml"/><Relationship Id="rId19" Type="http://schemas.openxmlformats.org/officeDocument/2006/relationships/tags" Target="../tags/tag21.xml"/><Relationship Id="rId224" Type="http://schemas.openxmlformats.org/officeDocument/2006/relationships/tags" Target="../tags/tag226.xml"/><Relationship Id="rId245" Type="http://schemas.openxmlformats.org/officeDocument/2006/relationships/tags" Target="../tags/tag247.xml"/><Relationship Id="rId266" Type="http://schemas.openxmlformats.org/officeDocument/2006/relationships/tags" Target="../tags/tag268.xml"/><Relationship Id="rId287" Type="http://schemas.openxmlformats.org/officeDocument/2006/relationships/tags" Target="../tags/tag289.xml"/><Relationship Id="rId30" Type="http://schemas.openxmlformats.org/officeDocument/2006/relationships/tags" Target="../tags/tag32.xml"/><Relationship Id="rId105" Type="http://schemas.openxmlformats.org/officeDocument/2006/relationships/tags" Target="../tags/tag107.xml"/><Relationship Id="rId126" Type="http://schemas.openxmlformats.org/officeDocument/2006/relationships/tags" Target="../tags/tag128.xml"/><Relationship Id="rId147" Type="http://schemas.openxmlformats.org/officeDocument/2006/relationships/tags" Target="../tags/tag149.xml"/><Relationship Id="rId168" Type="http://schemas.openxmlformats.org/officeDocument/2006/relationships/tags" Target="../tags/tag170.xml"/><Relationship Id="rId312" Type="http://schemas.openxmlformats.org/officeDocument/2006/relationships/tags" Target="../tags/tag314.xml"/><Relationship Id="rId333" Type="http://schemas.openxmlformats.org/officeDocument/2006/relationships/tags" Target="../tags/tag335.xml"/><Relationship Id="rId354" Type="http://schemas.openxmlformats.org/officeDocument/2006/relationships/tags" Target="../tags/tag356.xml"/><Relationship Id="rId51" Type="http://schemas.openxmlformats.org/officeDocument/2006/relationships/tags" Target="../tags/tag53.xml"/><Relationship Id="rId72" Type="http://schemas.openxmlformats.org/officeDocument/2006/relationships/tags" Target="../tags/tag74.xml"/><Relationship Id="rId93" Type="http://schemas.openxmlformats.org/officeDocument/2006/relationships/tags" Target="../tags/tag95.xml"/><Relationship Id="rId189" Type="http://schemas.openxmlformats.org/officeDocument/2006/relationships/tags" Target="../tags/tag191.xml"/><Relationship Id="rId375" Type="http://schemas.openxmlformats.org/officeDocument/2006/relationships/tags" Target="../tags/tag377.xml"/><Relationship Id="rId3" Type="http://schemas.openxmlformats.org/officeDocument/2006/relationships/tags" Target="../tags/tag5.xml"/><Relationship Id="rId214" Type="http://schemas.openxmlformats.org/officeDocument/2006/relationships/tags" Target="../tags/tag216.xml"/><Relationship Id="rId235" Type="http://schemas.openxmlformats.org/officeDocument/2006/relationships/tags" Target="../tags/tag237.xml"/><Relationship Id="rId256" Type="http://schemas.openxmlformats.org/officeDocument/2006/relationships/tags" Target="../tags/tag258.xml"/><Relationship Id="rId277" Type="http://schemas.openxmlformats.org/officeDocument/2006/relationships/tags" Target="../tags/tag279.xml"/><Relationship Id="rId298" Type="http://schemas.openxmlformats.org/officeDocument/2006/relationships/tags" Target="../tags/tag300.xml"/><Relationship Id="rId116" Type="http://schemas.openxmlformats.org/officeDocument/2006/relationships/tags" Target="../tags/tag118.xml"/><Relationship Id="rId137" Type="http://schemas.openxmlformats.org/officeDocument/2006/relationships/tags" Target="../tags/tag139.xml"/><Relationship Id="rId158" Type="http://schemas.openxmlformats.org/officeDocument/2006/relationships/tags" Target="../tags/tag160.xml"/><Relationship Id="rId302" Type="http://schemas.openxmlformats.org/officeDocument/2006/relationships/tags" Target="../tags/tag304.xml"/><Relationship Id="rId323" Type="http://schemas.openxmlformats.org/officeDocument/2006/relationships/tags" Target="../tags/tag325.xml"/><Relationship Id="rId344" Type="http://schemas.openxmlformats.org/officeDocument/2006/relationships/tags" Target="../tags/tag346.xml"/><Relationship Id="rId20" Type="http://schemas.openxmlformats.org/officeDocument/2006/relationships/tags" Target="../tags/tag22.xml"/><Relationship Id="rId41" Type="http://schemas.openxmlformats.org/officeDocument/2006/relationships/tags" Target="../tags/tag43.xml"/><Relationship Id="rId62" Type="http://schemas.openxmlformats.org/officeDocument/2006/relationships/tags" Target="../tags/tag64.xml"/><Relationship Id="rId83" Type="http://schemas.openxmlformats.org/officeDocument/2006/relationships/tags" Target="../tags/tag85.xml"/><Relationship Id="rId179" Type="http://schemas.openxmlformats.org/officeDocument/2006/relationships/tags" Target="../tags/tag181.xml"/><Relationship Id="rId365" Type="http://schemas.openxmlformats.org/officeDocument/2006/relationships/tags" Target="../tags/tag367.xml"/><Relationship Id="rId190" Type="http://schemas.openxmlformats.org/officeDocument/2006/relationships/tags" Target="../tags/tag192.xml"/><Relationship Id="rId204" Type="http://schemas.openxmlformats.org/officeDocument/2006/relationships/tags" Target="../tags/tag206.xml"/><Relationship Id="rId225" Type="http://schemas.openxmlformats.org/officeDocument/2006/relationships/tags" Target="../tags/tag227.xml"/><Relationship Id="rId246" Type="http://schemas.openxmlformats.org/officeDocument/2006/relationships/tags" Target="../tags/tag248.xml"/><Relationship Id="rId267" Type="http://schemas.openxmlformats.org/officeDocument/2006/relationships/tags" Target="../tags/tag269.xml"/><Relationship Id="rId288" Type="http://schemas.openxmlformats.org/officeDocument/2006/relationships/tags" Target="../tags/tag290.xml"/><Relationship Id="rId106" Type="http://schemas.openxmlformats.org/officeDocument/2006/relationships/tags" Target="../tags/tag108.xml"/><Relationship Id="rId127" Type="http://schemas.openxmlformats.org/officeDocument/2006/relationships/tags" Target="../tags/tag129.xml"/><Relationship Id="rId313" Type="http://schemas.openxmlformats.org/officeDocument/2006/relationships/tags" Target="../tags/tag315.xml"/><Relationship Id="rId10" Type="http://schemas.openxmlformats.org/officeDocument/2006/relationships/tags" Target="../tags/tag12.xml"/><Relationship Id="rId31" Type="http://schemas.openxmlformats.org/officeDocument/2006/relationships/tags" Target="../tags/tag33.xml"/><Relationship Id="rId52" Type="http://schemas.openxmlformats.org/officeDocument/2006/relationships/tags" Target="../tags/tag54.xml"/><Relationship Id="rId73" Type="http://schemas.openxmlformats.org/officeDocument/2006/relationships/tags" Target="../tags/tag75.xml"/><Relationship Id="rId94" Type="http://schemas.openxmlformats.org/officeDocument/2006/relationships/tags" Target="../tags/tag96.xml"/><Relationship Id="rId148" Type="http://schemas.openxmlformats.org/officeDocument/2006/relationships/tags" Target="../tags/tag150.xml"/><Relationship Id="rId169" Type="http://schemas.openxmlformats.org/officeDocument/2006/relationships/tags" Target="../tags/tag171.xml"/><Relationship Id="rId334" Type="http://schemas.openxmlformats.org/officeDocument/2006/relationships/tags" Target="../tags/tag336.xml"/><Relationship Id="rId355" Type="http://schemas.openxmlformats.org/officeDocument/2006/relationships/tags" Target="../tags/tag357.xml"/><Relationship Id="rId376" Type="http://schemas.openxmlformats.org/officeDocument/2006/relationships/tags" Target="../tags/tag378.xml"/><Relationship Id="rId4" Type="http://schemas.openxmlformats.org/officeDocument/2006/relationships/tags" Target="../tags/tag6.xml"/><Relationship Id="rId180" Type="http://schemas.openxmlformats.org/officeDocument/2006/relationships/tags" Target="../tags/tag182.xml"/><Relationship Id="rId215" Type="http://schemas.openxmlformats.org/officeDocument/2006/relationships/tags" Target="../tags/tag217.xml"/><Relationship Id="rId236" Type="http://schemas.openxmlformats.org/officeDocument/2006/relationships/tags" Target="../tags/tag238.xml"/><Relationship Id="rId257" Type="http://schemas.openxmlformats.org/officeDocument/2006/relationships/tags" Target="../tags/tag259.xml"/><Relationship Id="rId278" Type="http://schemas.openxmlformats.org/officeDocument/2006/relationships/tags" Target="../tags/tag28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t>STOXX Maximum Dividend Indices</a:t>
            </a:r>
            <a:endParaRPr lang="en-US" cap="none" dirty="0"/>
          </a:p>
        </p:txBody>
      </p:sp>
      <p:sp>
        <p:nvSpPr>
          <p:cNvPr id="3" name="Subtitle 2"/>
          <p:cNvSpPr>
            <a:spLocks noGrp="1"/>
          </p:cNvSpPr>
          <p:nvPr>
            <p:ph type="subTitle" idx="1"/>
          </p:nvPr>
        </p:nvSpPr>
        <p:spPr>
          <a:xfrm>
            <a:off x="366694" y="1337346"/>
            <a:ext cx="9159894" cy="233910"/>
          </a:xfrm>
        </p:spPr>
        <p:txBody>
          <a:bodyPr/>
          <a:lstStyle/>
          <a:p>
            <a:r>
              <a:rPr lang="en-US" dirty="0" smtClean="0"/>
              <a:t>November, 2014</a:t>
            </a:r>
            <a:endParaRPr lang="en-US" dirty="0"/>
          </a:p>
        </p:txBody>
      </p:sp>
    </p:spTree>
    <p:extLst>
      <p:ext uri="{BB962C8B-B14F-4D97-AF65-F5344CB8AC3E}">
        <p14:creationId xmlns:p14="http://schemas.microsoft.com/office/powerpoint/2010/main" val="40074255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
          <p:cNvSpPr>
            <a:spLocks noChangeArrowheads="1"/>
          </p:cNvSpPr>
          <p:nvPr/>
        </p:nvSpPr>
        <p:spPr bwMode="auto">
          <a:xfrm>
            <a:off x="4899025" y="2547159"/>
            <a:ext cx="3616739" cy="1842043"/>
          </a:xfrm>
          <a:prstGeom prst="rect">
            <a:avLst/>
          </a:prstGeom>
          <a:noFill/>
          <a:ln w="9525">
            <a:noFill/>
            <a:miter lim="800000"/>
            <a:headEnd/>
            <a:tailEnd/>
          </a:ln>
        </p:spPr>
        <p:txBody>
          <a:bodyPr wrap="square" lIns="0" tIns="0" rIns="0" bIns="0">
            <a:spAutoFit/>
          </a:bodyPr>
          <a:lstStyle/>
          <a:p>
            <a:pPr marL="177800" lvl="1" indent="-177800" algn="l">
              <a:lnSpc>
                <a:spcPct val="95000"/>
              </a:lnSpc>
              <a:spcBef>
                <a:spcPct val="0"/>
              </a:spcBef>
              <a:buFont typeface="Arial" panose="020B0604020202020204" pitchFamily="34" charset="0"/>
              <a:buChar char="»"/>
            </a:pPr>
            <a:r>
              <a:rPr lang="en-US" sz="1400" dirty="0" smtClean="0"/>
              <a:t>STOXX Europe Max. Div. 40</a:t>
            </a:r>
          </a:p>
          <a:p>
            <a:pPr marL="190500" lvl="1" indent="-188913" algn="l">
              <a:lnSpc>
                <a:spcPct val="95000"/>
              </a:lnSpc>
              <a:spcBef>
                <a:spcPct val="0"/>
              </a:spcBef>
              <a:buFont typeface="Arial" charset="0"/>
              <a:buChar char="»"/>
            </a:pPr>
            <a:endParaRPr lang="en-US" sz="1400" dirty="0" smtClean="0"/>
          </a:p>
          <a:p>
            <a:pPr marL="190500" lvl="1" indent="-188913" algn="l">
              <a:lnSpc>
                <a:spcPct val="95000"/>
              </a:lnSpc>
              <a:spcBef>
                <a:spcPct val="0"/>
              </a:spcBef>
              <a:buFont typeface="Arial" charset="0"/>
              <a:buChar char="»"/>
            </a:pPr>
            <a:r>
              <a:rPr lang="en-US" sz="1400" dirty="0" smtClean="0"/>
              <a:t>STOXX Global Max. Div. 40</a:t>
            </a:r>
          </a:p>
          <a:p>
            <a:pPr marL="190500" lvl="1" indent="-188913" algn="l">
              <a:lnSpc>
                <a:spcPct val="95000"/>
              </a:lnSpc>
              <a:spcBef>
                <a:spcPct val="0"/>
              </a:spcBef>
              <a:buFont typeface="Arial" charset="0"/>
              <a:buChar char="»"/>
            </a:pPr>
            <a:endParaRPr lang="en-US" sz="1400" dirty="0" smtClean="0"/>
          </a:p>
          <a:p>
            <a:pPr marL="190500" lvl="1" indent="-188913" algn="l">
              <a:lnSpc>
                <a:spcPct val="95000"/>
              </a:lnSpc>
              <a:spcBef>
                <a:spcPct val="0"/>
              </a:spcBef>
              <a:buFont typeface="Arial" charset="0"/>
              <a:buChar char="»"/>
            </a:pPr>
            <a:r>
              <a:rPr lang="en-US" sz="1400" dirty="0" smtClean="0"/>
              <a:t>STOXX Asia/Pacific Max. Div. 40</a:t>
            </a:r>
          </a:p>
          <a:p>
            <a:pPr marL="190500" lvl="1" indent="-188913" algn="l">
              <a:lnSpc>
                <a:spcPct val="95000"/>
              </a:lnSpc>
              <a:spcBef>
                <a:spcPct val="0"/>
              </a:spcBef>
              <a:buFont typeface="Arial" charset="0"/>
              <a:buChar char="»"/>
            </a:pPr>
            <a:endParaRPr lang="en-US" sz="1400" dirty="0" smtClean="0"/>
          </a:p>
          <a:p>
            <a:pPr marL="190500" lvl="1" indent="-188913" algn="l">
              <a:lnSpc>
                <a:spcPct val="95000"/>
              </a:lnSpc>
              <a:spcBef>
                <a:spcPct val="0"/>
              </a:spcBef>
              <a:buFont typeface="Arial" charset="0"/>
              <a:buChar char="»"/>
            </a:pPr>
            <a:r>
              <a:rPr lang="en-US" sz="1400" dirty="0" smtClean="0"/>
              <a:t>STOXX North America Max. Div. 40</a:t>
            </a:r>
          </a:p>
          <a:p>
            <a:pPr marL="190500" lvl="1" indent="-188913" algn="l">
              <a:lnSpc>
                <a:spcPct val="95000"/>
              </a:lnSpc>
              <a:spcBef>
                <a:spcPct val="0"/>
              </a:spcBef>
              <a:buFont typeface="Arial" charset="0"/>
              <a:buChar char="»"/>
            </a:pPr>
            <a:endParaRPr lang="en-US" sz="1400" dirty="0" smtClean="0"/>
          </a:p>
          <a:p>
            <a:pPr marL="190500" lvl="1" indent="-188913" algn="l">
              <a:lnSpc>
                <a:spcPct val="95000"/>
              </a:lnSpc>
              <a:spcBef>
                <a:spcPct val="0"/>
              </a:spcBef>
              <a:buFont typeface="Arial" charset="0"/>
              <a:buChar char="»"/>
            </a:pPr>
            <a:r>
              <a:rPr lang="en-US" sz="1400" dirty="0" smtClean="0"/>
              <a:t>STOXX Japan Max. Div. 40</a:t>
            </a:r>
            <a:endParaRPr lang="en-US" sz="1400" dirty="0"/>
          </a:p>
        </p:txBody>
      </p:sp>
      <p:sp>
        <p:nvSpPr>
          <p:cNvPr id="12" name="Rectangle 3"/>
          <p:cNvSpPr>
            <a:spLocks noChangeArrowheads="1"/>
          </p:cNvSpPr>
          <p:nvPr/>
        </p:nvSpPr>
        <p:spPr bwMode="auto">
          <a:xfrm>
            <a:off x="7753012" y="2547159"/>
            <a:ext cx="1076326" cy="1842043"/>
          </a:xfrm>
          <a:prstGeom prst="rect">
            <a:avLst/>
          </a:prstGeom>
          <a:noFill/>
          <a:ln w="9525">
            <a:noFill/>
            <a:miter lim="800000"/>
            <a:headEnd/>
            <a:tailEnd/>
          </a:ln>
        </p:spPr>
        <p:txBody>
          <a:bodyPr wrap="square" lIns="0" tIns="0" rIns="0" bIns="0">
            <a:spAutoFit/>
          </a:bodyPr>
          <a:lstStyle/>
          <a:p>
            <a:pPr marL="1587" lvl="1" algn="r">
              <a:lnSpc>
                <a:spcPct val="95000"/>
              </a:lnSpc>
              <a:spcBef>
                <a:spcPct val="0"/>
              </a:spcBef>
            </a:pPr>
            <a:r>
              <a:rPr lang="en-US" sz="1400" dirty="0" smtClean="0"/>
              <a:t>376.6%</a:t>
            </a:r>
          </a:p>
          <a:p>
            <a:pPr marL="1587" lvl="1" algn="r">
              <a:lnSpc>
                <a:spcPct val="95000"/>
              </a:lnSpc>
              <a:spcBef>
                <a:spcPct val="0"/>
              </a:spcBef>
            </a:pPr>
            <a:endParaRPr lang="en-US" sz="1400" dirty="0" smtClean="0"/>
          </a:p>
          <a:p>
            <a:pPr marL="1587" lvl="1" algn="r">
              <a:lnSpc>
                <a:spcPct val="95000"/>
              </a:lnSpc>
              <a:spcBef>
                <a:spcPct val="0"/>
              </a:spcBef>
            </a:pPr>
            <a:r>
              <a:rPr lang="en-US" sz="1400" dirty="0" smtClean="0"/>
              <a:t>377.9%</a:t>
            </a:r>
          </a:p>
          <a:p>
            <a:pPr marL="1587" lvl="1" algn="r">
              <a:lnSpc>
                <a:spcPct val="95000"/>
              </a:lnSpc>
              <a:spcBef>
                <a:spcPct val="0"/>
              </a:spcBef>
            </a:pPr>
            <a:endParaRPr lang="en-US" sz="1400" dirty="0" smtClean="0"/>
          </a:p>
          <a:p>
            <a:pPr marL="1587" lvl="1" algn="r">
              <a:lnSpc>
                <a:spcPct val="95000"/>
              </a:lnSpc>
              <a:spcBef>
                <a:spcPct val="0"/>
              </a:spcBef>
            </a:pPr>
            <a:r>
              <a:rPr lang="en-US" sz="1400" dirty="0" smtClean="0"/>
              <a:t>385.7%</a:t>
            </a:r>
          </a:p>
          <a:p>
            <a:pPr marL="1587" lvl="1" algn="r">
              <a:lnSpc>
                <a:spcPct val="95000"/>
              </a:lnSpc>
              <a:spcBef>
                <a:spcPct val="0"/>
              </a:spcBef>
            </a:pPr>
            <a:endParaRPr lang="en-US" sz="1400" dirty="0" smtClean="0"/>
          </a:p>
          <a:p>
            <a:pPr marL="1587" lvl="1" algn="r">
              <a:lnSpc>
                <a:spcPct val="95000"/>
              </a:lnSpc>
              <a:spcBef>
                <a:spcPct val="0"/>
              </a:spcBef>
            </a:pPr>
            <a:r>
              <a:rPr lang="en-US" sz="1400" dirty="0" smtClean="0"/>
              <a:t>128.7%</a:t>
            </a:r>
          </a:p>
          <a:p>
            <a:pPr marL="1587" lvl="1" algn="r">
              <a:lnSpc>
                <a:spcPct val="95000"/>
              </a:lnSpc>
              <a:spcBef>
                <a:spcPct val="0"/>
              </a:spcBef>
            </a:pPr>
            <a:endParaRPr lang="en-US" sz="1400" dirty="0" smtClean="0"/>
          </a:p>
          <a:p>
            <a:pPr marL="1587" lvl="1" algn="r">
              <a:lnSpc>
                <a:spcPct val="95000"/>
              </a:lnSpc>
              <a:spcBef>
                <a:spcPct val="0"/>
              </a:spcBef>
            </a:pPr>
            <a:r>
              <a:rPr lang="en-US" sz="1400" dirty="0" smtClean="0"/>
              <a:t>55.9%</a:t>
            </a:r>
          </a:p>
        </p:txBody>
      </p:sp>
      <p:sp>
        <p:nvSpPr>
          <p:cNvPr id="36866" name="Rectangle 2"/>
          <p:cNvSpPr>
            <a:spLocks noGrp="1" noChangeArrowheads="1"/>
          </p:cNvSpPr>
          <p:nvPr>
            <p:ph type="title"/>
          </p:nvPr>
        </p:nvSpPr>
        <p:spPr/>
        <p:txBody>
          <a:bodyPr/>
          <a:lstStyle/>
          <a:p>
            <a:r>
              <a:rPr lang="en-US" dirty="0" smtClean="0"/>
              <a:t>STOXX Maximum Dividend indices provide investors with dividend yields of up to 11% p.a.</a:t>
            </a:r>
          </a:p>
        </p:txBody>
      </p:sp>
      <p:sp>
        <p:nvSpPr>
          <p:cNvPr id="36867" name="Rectangle 3"/>
          <p:cNvSpPr>
            <a:spLocks noChangeArrowheads="1"/>
          </p:cNvSpPr>
          <p:nvPr/>
        </p:nvSpPr>
        <p:spPr bwMode="auto">
          <a:xfrm>
            <a:off x="443604" y="2308821"/>
            <a:ext cx="3665817" cy="2585323"/>
          </a:xfrm>
          <a:prstGeom prst="rect">
            <a:avLst/>
          </a:prstGeom>
          <a:noFill/>
          <a:ln w="9525">
            <a:noFill/>
            <a:miter lim="800000"/>
            <a:headEnd/>
            <a:tailEnd/>
          </a:ln>
        </p:spPr>
        <p:txBody>
          <a:bodyPr wrap="square" lIns="0" tIns="0" rIns="0" bIns="0">
            <a:spAutoFit/>
          </a:bodyPr>
          <a:lstStyle/>
          <a:p>
            <a:pPr marL="285750" indent="-285750">
              <a:buFont typeface="Arial" panose="020B0604020202020204" pitchFamily="34" charset="0"/>
              <a:buChar char="»"/>
            </a:pPr>
            <a:r>
              <a:rPr lang="en-US" sz="1400" dirty="0" smtClean="0"/>
              <a:t>The </a:t>
            </a:r>
            <a:r>
              <a:rPr lang="en-US" sz="1400" dirty="0"/>
              <a:t>STOXX Maximum Dividend Indices </a:t>
            </a:r>
            <a:r>
              <a:rPr lang="en-US" sz="1400" dirty="0" smtClean="0"/>
              <a:t>are designed </a:t>
            </a:r>
            <a:r>
              <a:rPr lang="en-US" sz="1400" dirty="0"/>
              <a:t>to maximize </a:t>
            </a:r>
            <a:r>
              <a:rPr lang="en-US" sz="1400" dirty="0" smtClean="0"/>
              <a:t>the dividend </a:t>
            </a:r>
            <a:r>
              <a:rPr lang="en-US" sz="1400" dirty="0"/>
              <a:t>yield of </a:t>
            </a:r>
            <a:r>
              <a:rPr lang="en-US" sz="1400" dirty="0" smtClean="0"/>
              <a:t>the index </a:t>
            </a:r>
            <a:r>
              <a:rPr lang="en-US" sz="1400" dirty="0"/>
              <a:t>portfolio. </a:t>
            </a:r>
            <a:endParaRPr lang="en-US" sz="1400" dirty="0" smtClean="0"/>
          </a:p>
          <a:p>
            <a:pPr marL="285750" indent="-285750">
              <a:buFont typeface="Arial" panose="020B0604020202020204" pitchFamily="34" charset="0"/>
              <a:buChar char="»"/>
            </a:pPr>
            <a:endParaRPr lang="en-US" sz="1400" dirty="0" smtClean="0"/>
          </a:p>
          <a:p>
            <a:pPr marL="285750" indent="-285750">
              <a:buFont typeface="Arial" panose="020B0604020202020204" pitchFamily="34" charset="0"/>
              <a:buChar char="»"/>
            </a:pPr>
            <a:r>
              <a:rPr lang="en-US" sz="1400" dirty="0" smtClean="0"/>
              <a:t>The indices comprise 40 stocks from the relevant regional benchmark indices with the </a:t>
            </a:r>
            <a:r>
              <a:rPr lang="en-US" sz="1400" dirty="0"/>
              <a:t>highest expected dividend yield. </a:t>
            </a:r>
            <a:endParaRPr lang="en-US" sz="1400" dirty="0" smtClean="0"/>
          </a:p>
          <a:p>
            <a:pPr marL="285750" indent="-285750">
              <a:buFont typeface="Arial" panose="020B0604020202020204" pitchFamily="34" charset="0"/>
              <a:buChar char="»"/>
            </a:pPr>
            <a:endParaRPr lang="en-US" sz="1400" dirty="0" smtClean="0"/>
          </a:p>
          <a:p>
            <a:pPr marL="285750" indent="-285750">
              <a:buFont typeface="Arial" panose="020B0604020202020204" pitchFamily="34" charset="0"/>
              <a:buChar char="»"/>
            </a:pPr>
            <a:r>
              <a:rPr lang="en-US" sz="1400" dirty="0" smtClean="0"/>
              <a:t>Index components must have a minimum free-float market capitalization of 1bn EUR and a minimum 3-months average daily value traded (ADVT) of 4mn EUR.</a:t>
            </a:r>
            <a:endParaRPr lang="en-US" sz="1400" b="0" dirty="0"/>
          </a:p>
        </p:txBody>
      </p:sp>
      <p:sp>
        <p:nvSpPr>
          <p:cNvPr id="2" name="Text Placeholder 1"/>
          <p:cNvSpPr>
            <a:spLocks noGrp="1"/>
          </p:cNvSpPr>
          <p:nvPr>
            <p:ph type="body" sz="quarter" idx="12"/>
          </p:nvPr>
        </p:nvSpPr>
        <p:spPr/>
        <p:txBody>
          <a:bodyPr/>
          <a:lstStyle/>
          <a:p>
            <a:r>
              <a:rPr lang="en-US" dirty="0"/>
              <a:t>Portfolio turnover  based on regular quarterly </a:t>
            </a:r>
            <a:r>
              <a:rPr lang="en-US" dirty="0" err="1"/>
              <a:t>rebalancings</a:t>
            </a:r>
            <a:r>
              <a:rPr lang="en-US" dirty="0"/>
              <a:t> (</a:t>
            </a:r>
            <a:r>
              <a:rPr lang="en-US" dirty="0" smtClean="0"/>
              <a:t>Q1 2013-Q1 </a:t>
            </a:r>
            <a:r>
              <a:rPr lang="en-US" dirty="0"/>
              <a:t>2014)</a:t>
            </a:r>
          </a:p>
          <a:p>
            <a:r>
              <a:rPr lang="en-US" dirty="0" smtClean="0"/>
              <a:t>Net dividend yield calculated based on difference between net- and price return </a:t>
            </a:r>
            <a:r>
              <a:rPr lang="en-US" dirty="0"/>
              <a:t>of respective USD index (05/2013 to 05/2014</a:t>
            </a:r>
            <a:r>
              <a:rPr lang="en-US" dirty="0" smtClean="0"/>
              <a:t>)</a:t>
            </a:r>
          </a:p>
          <a:p>
            <a:endParaRPr lang="en-US" dirty="0"/>
          </a:p>
        </p:txBody>
      </p:sp>
      <p:sp>
        <p:nvSpPr>
          <p:cNvPr id="9" name="Rectangle 3"/>
          <p:cNvSpPr>
            <a:spLocks noChangeArrowheads="1"/>
          </p:cNvSpPr>
          <p:nvPr/>
        </p:nvSpPr>
        <p:spPr bwMode="auto">
          <a:xfrm>
            <a:off x="8861611" y="2555636"/>
            <a:ext cx="690563" cy="1842043"/>
          </a:xfrm>
          <a:prstGeom prst="rect">
            <a:avLst/>
          </a:prstGeom>
          <a:noFill/>
          <a:ln w="9525">
            <a:noFill/>
            <a:miter lim="800000"/>
            <a:headEnd/>
            <a:tailEnd/>
          </a:ln>
        </p:spPr>
        <p:txBody>
          <a:bodyPr wrap="square" lIns="0" tIns="0" rIns="0" bIns="0">
            <a:spAutoFit/>
          </a:bodyPr>
          <a:lstStyle/>
          <a:p>
            <a:pPr marL="1587" lvl="1" algn="r">
              <a:lnSpc>
                <a:spcPct val="95000"/>
              </a:lnSpc>
              <a:spcBef>
                <a:spcPct val="0"/>
              </a:spcBef>
            </a:pPr>
            <a:r>
              <a:rPr lang="en-US" sz="1400" dirty="0" smtClean="0"/>
              <a:t>11.4%</a:t>
            </a:r>
          </a:p>
          <a:p>
            <a:pPr marL="1587" lvl="1" algn="r">
              <a:lnSpc>
                <a:spcPct val="95000"/>
              </a:lnSpc>
              <a:spcBef>
                <a:spcPct val="0"/>
              </a:spcBef>
            </a:pPr>
            <a:endParaRPr lang="en-US" sz="1400" dirty="0" smtClean="0"/>
          </a:p>
          <a:p>
            <a:pPr marL="1587" lvl="1" algn="r">
              <a:lnSpc>
                <a:spcPct val="95000"/>
              </a:lnSpc>
              <a:spcBef>
                <a:spcPct val="0"/>
              </a:spcBef>
            </a:pPr>
            <a:r>
              <a:rPr lang="en-US" sz="1400" dirty="0" smtClean="0"/>
              <a:t>11.6%</a:t>
            </a:r>
          </a:p>
          <a:p>
            <a:pPr marL="1587" lvl="1" algn="r">
              <a:lnSpc>
                <a:spcPct val="95000"/>
              </a:lnSpc>
              <a:spcBef>
                <a:spcPct val="0"/>
              </a:spcBef>
            </a:pPr>
            <a:endParaRPr lang="en-US" sz="1400" dirty="0" smtClean="0"/>
          </a:p>
          <a:p>
            <a:pPr marL="1587" lvl="1" algn="r">
              <a:lnSpc>
                <a:spcPct val="95000"/>
              </a:lnSpc>
              <a:spcBef>
                <a:spcPct val="0"/>
              </a:spcBef>
            </a:pPr>
            <a:r>
              <a:rPr lang="en-US" sz="1400" dirty="0" smtClean="0"/>
              <a:t>7.6%</a:t>
            </a:r>
          </a:p>
          <a:p>
            <a:pPr marL="1587" lvl="1" algn="r">
              <a:lnSpc>
                <a:spcPct val="95000"/>
              </a:lnSpc>
              <a:spcBef>
                <a:spcPct val="0"/>
              </a:spcBef>
            </a:pPr>
            <a:endParaRPr lang="en-US" sz="1400" dirty="0" smtClean="0"/>
          </a:p>
          <a:p>
            <a:pPr marL="1587" lvl="1" algn="r">
              <a:lnSpc>
                <a:spcPct val="95000"/>
              </a:lnSpc>
              <a:spcBef>
                <a:spcPct val="0"/>
              </a:spcBef>
            </a:pPr>
            <a:r>
              <a:rPr lang="en-US" sz="1400" dirty="0" smtClean="0"/>
              <a:t>3.5%</a:t>
            </a:r>
          </a:p>
          <a:p>
            <a:pPr marL="1587" lvl="1" algn="r">
              <a:lnSpc>
                <a:spcPct val="95000"/>
              </a:lnSpc>
              <a:spcBef>
                <a:spcPct val="0"/>
              </a:spcBef>
            </a:pPr>
            <a:endParaRPr lang="en-US" sz="1400" dirty="0" smtClean="0"/>
          </a:p>
          <a:p>
            <a:pPr marL="1587" lvl="1" algn="r">
              <a:lnSpc>
                <a:spcPct val="95000"/>
              </a:lnSpc>
              <a:spcBef>
                <a:spcPct val="0"/>
              </a:spcBef>
            </a:pPr>
            <a:r>
              <a:rPr lang="en-US" sz="1400" dirty="0" smtClean="0"/>
              <a:t>1.9%</a:t>
            </a:r>
          </a:p>
        </p:txBody>
      </p:sp>
      <p:sp>
        <p:nvSpPr>
          <p:cNvPr id="14" name="Rectangle 2"/>
          <p:cNvSpPr>
            <a:spLocks noChangeArrowheads="1"/>
          </p:cNvSpPr>
          <p:nvPr/>
        </p:nvSpPr>
        <p:spPr bwMode="auto">
          <a:xfrm>
            <a:off x="368300" y="1836738"/>
            <a:ext cx="4368800"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concept</a:t>
            </a:r>
            <a:endParaRPr lang="en-US" sz="1600" b="1" dirty="0">
              <a:solidFill>
                <a:schemeClr val="bg1"/>
              </a:solidFill>
            </a:endParaRPr>
          </a:p>
        </p:txBody>
      </p:sp>
      <p:sp>
        <p:nvSpPr>
          <p:cNvPr id="15" name="Rectangle 2"/>
          <p:cNvSpPr>
            <a:spLocks noChangeArrowheads="1"/>
          </p:cNvSpPr>
          <p:nvPr/>
        </p:nvSpPr>
        <p:spPr bwMode="auto">
          <a:xfrm>
            <a:off x="4899025" y="1836738"/>
            <a:ext cx="4640262"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a:solidFill>
                  <a:schemeClr val="bg1"/>
                </a:solidFill>
              </a:rPr>
              <a:t>Net Dividend Yields and Turnover</a:t>
            </a:r>
          </a:p>
        </p:txBody>
      </p:sp>
      <p:sp>
        <p:nvSpPr>
          <p:cNvPr id="16" name="Rectangle 2"/>
          <p:cNvSpPr>
            <a:spLocks noChangeArrowheads="1"/>
          </p:cNvSpPr>
          <p:nvPr/>
        </p:nvSpPr>
        <p:spPr bwMode="auto">
          <a:xfrm>
            <a:off x="8906432" y="2174652"/>
            <a:ext cx="640800"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ctr">
              <a:spcBef>
                <a:spcPct val="0"/>
              </a:spcBef>
            </a:pPr>
            <a:r>
              <a:rPr lang="en-US" sz="1600" b="1" dirty="0">
                <a:solidFill>
                  <a:schemeClr val="bg1"/>
                </a:solidFill>
              </a:rPr>
              <a:t>DY</a:t>
            </a:r>
            <a:r>
              <a:rPr lang="en-US" sz="1600" b="1" baseline="30000" dirty="0">
                <a:solidFill>
                  <a:schemeClr val="bg1"/>
                </a:solidFill>
              </a:rPr>
              <a:t>2)</a:t>
            </a:r>
          </a:p>
        </p:txBody>
      </p:sp>
      <p:sp>
        <p:nvSpPr>
          <p:cNvPr id="17" name="Rectangle 2"/>
          <p:cNvSpPr>
            <a:spLocks noChangeArrowheads="1"/>
          </p:cNvSpPr>
          <p:nvPr/>
        </p:nvSpPr>
        <p:spPr bwMode="auto">
          <a:xfrm>
            <a:off x="8165053" y="2176260"/>
            <a:ext cx="640640"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ctr">
              <a:spcBef>
                <a:spcPct val="0"/>
              </a:spcBef>
            </a:pPr>
            <a:r>
              <a:rPr lang="en-US" sz="1600" b="1" dirty="0">
                <a:solidFill>
                  <a:schemeClr val="bg1"/>
                </a:solidFill>
              </a:rPr>
              <a:t>TO</a:t>
            </a:r>
            <a:r>
              <a:rPr lang="en-US" sz="1600" b="1" baseline="30000" dirty="0">
                <a:solidFill>
                  <a:schemeClr val="bg1"/>
                </a:solidFill>
              </a:rPr>
              <a:t>1)</a:t>
            </a:r>
          </a:p>
        </p:txBody>
      </p:sp>
    </p:spTree>
    <p:extLst>
      <p:ext uri="{BB962C8B-B14F-4D97-AF65-F5344CB8AC3E}">
        <p14:creationId xmlns:p14="http://schemas.microsoft.com/office/powerpoint/2010/main" val="21163451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ChangeArrowheads="1"/>
          </p:cNvSpPr>
          <p:nvPr>
            <p:ph type="title"/>
          </p:nvPr>
        </p:nvSpPr>
        <p:spPr/>
        <p:txBody>
          <a:bodyPr>
            <a:normAutofit/>
          </a:bodyPr>
          <a:lstStyle/>
          <a:p>
            <a:r>
              <a:rPr lang="en-US" dirty="0" smtClean="0"/>
              <a:t>STOXX Europe Maximum Dividend Index provides significantly better risk return relation than benchmark</a:t>
            </a:r>
            <a:endParaRPr lang="en-US" dirty="0" smtClean="0">
              <a:solidFill>
                <a:schemeClr val="tx1"/>
              </a:solidFill>
            </a:endParaRPr>
          </a:p>
        </p:txBody>
      </p:sp>
      <p:sp>
        <p:nvSpPr>
          <p:cNvPr id="26" name="Textplatzhalter 25"/>
          <p:cNvSpPr>
            <a:spLocks noGrp="1"/>
          </p:cNvSpPr>
          <p:nvPr>
            <p:ph type="body" sz="quarter" idx="13"/>
          </p:nvPr>
        </p:nvSpPr>
        <p:spPr>
          <a:xfrm>
            <a:off x="368300" y="1338362"/>
            <a:ext cx="9158288" cy="292388"/>
          </a:xfrm>
        </p:spPr>
        <p:txBody>
          <a:bodyPr/>
          <a:lstStyle/>
          <a:p>
            <a:r>
              <a:rPr lang="en-US" dirty="0" smtClean="0"/>
              <a:t>STOXX Europe Max Dividend 40 vs Benchmark</a:t>
            </a:r>
            <a:endParaRPr lang="de-DE" dirty="0"/>
          </a:p>
        </p:txBody>
      </p:sp>
      <p:sp>
        <p:nvSpPr>
          <p:cNvPr id="85" name="Rectangle 2"/>
          <p:cNvSpPr>
            <a:spLocks noChangeArrowheads="1"/>
          </p:cNvSpPr>
          <p:nvPr/>
        </p:nvSpPr>
        <p:spPr bwMode="auto">
          <a:xfrm>
            <a:off x="368303" y="1842510"/>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prstClr val="white"/>
                </a:solidFill>
              </a:rPr>
              <a:t>Risk and Return Analysis</a:t>
            </a:r>
            <a:endParaRPr lang="en-US" sz="1400" b="1" dirty="0">
              <a:solidFill>
                <a:prstClr val="white"/>
              </a:solidFill>
            </a:endParaRPr>
          </a:p>
        </p:txBody>
      </p:sp>
      <p:sp>
        <p:nvSpPr>
          <p:cNvPr id="86" name="Rectangle 2"/>
          <p:cNvSpPr>
            <a:spLocks noChangeArrowheads="1"/>
          </p:cNvSpPr>
          <p:nvPr/>
        </p:nvSpPr>
        <p:spPr bwMode="auto">
          <a:xfrm>
            <a:off x="5167315" y="1842510"/>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err="1">
                <a:solidFill>
                  <a:prstClr val="white"/>
                </a:solidFill>
              </a:rPr>
              <a:t>Backtest</a:t>
            </a:r>
            <a:r>
              <a:rPr lang="en-US" sz="1400" b="1" dirty="0">
                <a:solidFill>
                  <a:prstClr val="white"/>
                </a:solidFill>
              </a:rPr>
              <a:t> </a:t>
            </a:r>
            <a:r>
              <a:rPr lang="en-US" sz="1400" b="1" dirty="0" smtClean="0">
                <a:solidFill>
                  <a:prstClr val="white"/>
                </a:solidFill>
              </a:rPr>
              <a:t>(Dec 2011 </a:t>
            </a:r>
            <a:r>
              <a:rPr lang="en-US" sz="1400" b="1" dirty="0">
                <a:solidFill>
                  <a:prstClr val="white"/>
                </a:solidFill>
              </a:rPr>
              <a:t>– Nov 2014)</a:t>
            </a:r>
            <a:r>
              <a:rPr lang="en-US" sz="1400" b="1" baseline="30000" dirty="0">
                <a:solidFill>
                  <a:prstClr val="white"/>
                </a:solidFill>
              </a:rPr>
              <a:t>1)</a:t>
            </a:r>
            <a:endParaRPr lang="en-US" sz="1400" b="1" dirty="0">
              <a:solidFill>
                <a:prstClr val="white"/>
              </a:solidFill>
            </a:endParaRPr>
          </a:p>
        </p:txBody>
      </p:sp>
      <p:graphicFrame>
        <p:nvGraphicFramePr>
          <p:cNvPr id="19" name="Object 9"/>
          <p:cNvGraphicFramePr>
            <a:graphicFrameLocks/>
          </p:cNvGraphicFramePr>
          <p:nvPr>
            <p:extLst>
              <p:ext uri="{D42A27DB-BD31-4B8C-83A1-F6EECF244321}">
                <p14:modId xmlns:p14="http://schemas.microsoft.com/office/powerpoint/2010/main" val="2175380876"/>
              </p:ext>
            </p:extLst>
          </p:nvPr>
        </p:nvGraphicFramePr>
        <p:xfrm>
          <a:off x="5163313" y="2154261"/>
          <a:ext cx="4361689" cy="3428957"/>
        </p:xfrm>
        <a:graphic>
          <a:graphicData uri="http://schemas.openxmlformats.org/drawingml/2006/chart">
            <c:chart xmlns:c="http://schemas.openxmlformats.org/drawingml/2006/chart" xmlns:r="http://schemas.openxmlformats.org/officeDocument/2006/relationships" r:id="rId3"/>
          </a:graphicData>
        </a:graphic>
      </p:graphicFrame>
      <p:grpSp>
        <p:nvGrpSpPr>
          <p:cNvPr id="27" name="Group 5"/>
          <p:cNvGrpSpPr>
            <a:grpSpLocks/>
          </p:cNvGrpSpPr>
          <p:nvPr/>
        </p:nvGrpSpPr>
        <p:grpSpPr bwMode="auto">
          <a:xfrm>
            <a:off x="5379464" y="5810965"/>
            <a:ext cx="2207334" cy="153987"/>
            <a:chOff x="176" y="3893"/>
            <a:chExt cx="1284" cy="97"/>
          </a:xfrm>
        </p:grpSpPr>
        <p:sp>
          <p:nvSpPr>
            <p:cNvPr id="28" name="Rectangle 6"/>
            <p:cNvSpPr>
              <a:spLocks noChangeArrowheads="1"/>
            </p:cNvSpPr>
            <p:nvPr/>
          </p:nvSpPr>
          <p:spPr bwMode="auto">
            <a:xfrm>
              <a:off x="176" y="3896"/>
              <a:ext cx="136" cy="91"/>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ct val="95000"/>
                </a:lnSpc>
                <a:buFont typeface="Arial" pitchFamily="34" charset="0"/>
                <a:defRPr sz="1600" b="1">
                  <a:solidFill>
                    <a:schemeClr val="tx1"/>
                  </a:solidFill>
                  <a:latin typeface="Arial" pitchFamily="34" charset="0"/>
                </a:defRPr>
              </a:lvl1pPr>
              <a:lvl2pPr marL="742950" indent="-285750" eaLnBrk="0" hangingPunct="0">
                <a:lnSpc>
                  <a:spcPct val="95000"/>
                </a:lnSpc>
                <a:buFont typeface="Arial" pitchFamily="34" charset="0"/>
                <a:buChar char="»"/>
                <a:defRPr sz="1600">
                  <a:solidFill>
                    <a:schemeClr val="tx1"/>
                  </a:solidFill>
                  <a:latin typeface="Arial" pitchFamily="34" charset="0"/>
                </a:defRPr>
              </a:lvl2pPr>
              <a:lvl3pPr marL="1143000" indent="-228600" eaLnBrk="0" hangingPunct="0">
                <a:lnSpc>
                  <a:spcPct val="95000"/>
                </a:lnSpc>
                <a:buFont typeface="Arial" pitchFamily="34" charset="0"/>
                <a:buChar char="»"/>
                <a:defRPr sz="1600">
                  <a:solidFill>
                    <a:schemeClr val="tx1"/>
                  </a:solidFill>
                  <a:latin typeface="Arial" pitchFamily="34" charset="0"/>
                </a:defRPr>
              </a:lvl3pPr>
              <a:lvl4pPr marL="1600200" indent="-228600" eaLnBrk="0" hangingPunct="0">
                <a:lnSpc>
                  <a:spcPct val="95000"/>
                </a:lnSpc>
                <a:buFont typeface="Arial" pitchFamily="34" charset="0"/>
                <a:buChar char="»"/>
                <a:defRPr sz="1600">
                  <a:solidFill>
                    <a:schemeClr val="tx1"/>
                  </a:solidFill>
                  <a:latin typeface="Arial" pitchFamily="34" charset="0"/>
                </a:defRPr>
              </a:lvl4pPr>
              <a:lvl5pPr marL="2057400" indent="-228600" eaLnBrk="0" hangingPunct="0">
                <a:lnSpc>
                  <a:spcPct val="95000"/>
                </a:lnSpc>
                <a:buFont typeface="Arial" pitchFamily="34" charset="0"/>
                <a:buChar char="»"/>
                <a:defRPr sz="1600">
                  <a:solidFill>
                    <a:schemeClr val="tx1"/>
                  </a:solidFill>
                  <a:latin typeface="Arial" pitchFamily="34" charset="0"/>
                </a:defRPr>
              </a:lvl5pPr>
              <a:lvl6pPr marL="25146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6pPr>
              <a:lvl7pPr marL="29718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7pPr>
              <a:lvl8pPr marL="34290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8pPr>
              <a:lvl9pPr marL="38862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9pPr>
            </a:lstStyle>
            <a:p>
              <a:pPr eaLnBrk="1" hangingPunct="1">
                <a:lnSpc>
                  <a:spcPct val="100000"/>
                </a:lnSpc>
                <a:buFontTx/>
                <a:buNone/>
              </a:pPr>
              <a:endParaRPr lang="en-US" altLang="en-US" sz="1800" b="0">
                <a:solidFill>
                  <a:srgbClr val="000000"/>
                </a:solidFill>
              </a:endParaRPr>
            </a:p>
          </p:txBody>
        </p:sp>
        <p:sp>
          <p:nvSpPr>
            <p:cNvPr id="35" name="Legend"/>
            <p:cNvSpPr txBox="1">
              <a:spLocks noChangeArrowheads="1"/>
            </p:cNvSpPr>
            <p:nvPr/>
          </p:nvSpPr>
          <p:spPr bwMode="auto">
            <a:xfrm>
              <a:off x="376" y="3893"/>
              <a:ext cx="1084"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lnSpc>
                  <a:spcPct val="95000"/>
                </a:lnSpc>
                <a:buFont typeface="Arial" pitchFamily="34" charset="0"/>
                <a:defRPr sz="1600" b="1">
                  <a:solidFill>
                    <a:schemeClr val="tx1"/>
                  </a:solidFill>
                  <a:latin typeface="Arial" pitchFamily="34" charset="0"/>
                </a:defRPr>
              </a:lvl1pPr>
              <a:lvl2pPr marL="742950" indent="-285750" eaLnBrk="0" hangingPunct="0">
                <a:lnSpc>
                  <a:spcPct val="95000"/>
                </a:lnSpc>
                <a:buFont typeface="Arial" pitchFamily="34" charset="0"/>
                <a:buChar char="»"/>
                <a:defRPr sz="1600">
                  <a:solidFill>
                    <a:schemeClr val="tx1"/>
                  </a:solidFill>
                  <a:latin typeface="Arial" pitchFamily="34" charset="0"/>
                </a:defRPr>
              </a:lvl2pPr>
              <a:lvl3pPr marL="1143000" indent="-228600" eaLnBrk="0" hangingPunct="0">
                <a:lnSpc>
                  <a:spcPct val="95000"/>
                </a:lnSpc>
                <a:buFont typeface="Arial" pitchFamily="34" charset="0"/>
                <a:buChar char="»"/>
                <a:defRPr sz="1600">
                  <a:solidFill>
                    <a:schemeClr val="tx1"/>
                  </a:solidFill>
                  <a:latin typeface="Arial" pitchFamily="34" charset="0"/>
                </a:defRPr>
              </a:lvl3pPr>
              <a:lvl4pPr marL="1600200" indent="-228600" eaLnBrk="0" hangingPunct="0">
                <a:lnSpc>
                  <a:spcPct val="95000"/>
                </a:lnSpc>
                <a:buFont typeface="Arial" pitchFamily="34" charset="0"/>
                <a:buChar char="»"/>
                <a:defRPr sz="1600">
                  <a:solidFill>
                    <a:schemeClr val="tx1"/>
                  </a:solidFill>
                  <a:latin typeface="Arial" pitchFamily="34" charset="0"/>
                </a:defRPr>
              </a:lvl4pPr>
              <a:lvl5pPr marL="2057400" indent="-228600" eaLnBrk="0" hangingPunct="0">
                <a:lnSpc>
                  <a:spcPct val="95000"/>
                </a:lnSpc>
                <a:buFont typeface="Arial" pitchFamily="34" charset="0"/>
                <a:buChar char="»"/>
                <a:defRPr sz="1600">
                  <a:solidFill>
                    <a:schemeClr val="tx1"/>
                  </a:solidFill>
                  <a:latin typeface="Arial" pitchFamily="34" charset="0"/>
                </a:defRPr>
              </a:lvl5pPr>
              <a:lvl6pPr marL="25146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6pPr>
              <a:lvl7pPr marL="29718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7pPr>
              <a:lvl8pPr marL="34290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8pPr>
              <a:lvl9pPr marL="38862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9pPr>
            </a:lstStyle>
            <a:p>
              <a:pPr eaLnBrk="1" hangingPunct="1">
                <a:lnSpc>
                  <a:spcPct val="100000"/>
                </a:lnSpc>
                <a:buFontTx/>
                <a:buNone/>
              </a:pPr>
              <a:r>
                <a:rPr lang="en-US" altLang="en-US" sz="1000" b="0" dirty="0" smtClean="0">
                  <a:solidFill>
                    <a:srgbClr val="000000"/>
                  </a:solidFill>
                </a:rPr>
                <a:t>STOXX Europe Max Dividend 40</a:t>
              </a:r>
              <a:endParaRPr lang="en-US" altLang="en-US" sz="1000" b="0" dirty="0">
                <a:solidFill>
                  <a:srgbClr val="000000"/>
                </a:solidFill>
              </a:endParaRPr>
            </a:p>
          </p:txBody>
        </p:sp>
      </p:grpSp>
      <p:grpSp>
        <p:nvGrpSpPr>
          <p:cNvPr id="36" name="Group 1"/>
          <p:cNvGrpSpPr>
            <a:grpSpLocks/>
          </p:cNvGrpSpPr>
          <p:nvPr/>
        </p:nvGrpSpPr>
        <p:grpSpPr bwMode="auto">
          <a:xfrm>
            <a:off x="7875242" y="5824040"/>
            <a:ext cx="1469263" cy="153888"/>
            <a:chOff x="5262563" y="5705284"/>
            <a:chExt cx="1468998" cy="153788"/>
          </a:xfrm>
        </p:grpSpPr>
        <p:sp>
          <p:nvSpPr>
            <p:cNvPr id="37" name="Rectangle 6"/>
            <p:cNvSpPr>
              <a:spLocks noChangeArrowheads="1"/>
            </p:cNvSpPr>
            <p:nvPr/>
          </p:nvSpPr>
          <p:spPr bwMode="auto">
            <a:xfrm>
              <a:off x="5262563" y="5710044"/>
              <a:ext cx="233320" cy="144368"/>
            </a:xfrm>
            <a:prstGeom prst="rect">
              <a:avLst/>
            </a:prstGeom>
            <a:solidFill>
              <a:schemeClr val="accent4"/>
            </a:solidFill>
            <a:ln w="9525" algn="ctr">
              <a:noFill/>
              <a:miter lim="800000"/>
              <a:headEnd/>
              <a:tailEnd/>
            </a:ln>
          </p:spPr>
          <p:txBody>
            <a:bodyPr wrap="none"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en-US">
                <a:solidFill>
                  <a:srgbClr val="A19BB8"/>
                </a:solidFill>
              </a:endParaRPr>
            </a:p>
          </p:txBody>
        </p:sp>
        <p:sp>
          <p:nvSpPr>
            <p:cNvPr id="38" name="Legend"/>
            <p:cNvSpPr txBox="1">
              <a:spLocks noChangeArrowheads="1"/>
            </p:cNvSpPr>
            <p:nvPr/>
          </p:nvSpPr>
          <p:spPr bwMode="auto">
            <a:xfrm>
              <a:off x="5606456" y="5705284"/>
              <a:ext cx="1125105" cy="15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lnSpc>
                  <a:spcPct val="95000"/>
                </a:lnSpc>
                <a:buFont typeface="Arial" pitchFamily="34" charset="0"/>
                <a:defRPr sz="1600" b="1">
                  <a:solidFill>
                    <a:schemeClr val="tx1"/>
                  </a:solidFill>
                  <a:latin typeface="Arial" pitchFamily="34" charset="0"/>
                </a:defRPr>
              </a:lvl1pPr>
              <a:lvl2pPr marL="742950" indent="-285750" eaLnBrk="0" hangingPunct="0">
                <a:lnSpc>
                  <a:spcPct val="95000"/>
                </a:lnSpc>
                <a:buFont typeface="Arial" pitchFamily="34" charset="0"/>
                <a:buChar char="»"/>
                <a:defRPr sz="1600">
                  <a:solidFill>
                    <a:schemeClr val="tx1"/>
                  </a:solidFill>
                  <a:latin typeface="Arial" pitchFamily="34" charset="0"/>
                </a:defRPr>
              </a:lvl2pPr>
              <a:lvl3pPr marL="1143000" indent="-228600" eaLnBrk="0" hangingPunct="0">
                <a:lnSpc>
                  <a:spcPct val="95000"/>
                </a:lnSpc>
                <a:buFont typeface="Arial" pitchFamily="34" charset="0"/>
                <a:buChar char="»"/>
                <a:defRPr sz="1600">
                  <a:solidFill>
                    <a:schemeClr val="tx1"/>
                  </a:solidFill>
                  <a:latin typeface="Arial" pitchFamily="34" charset="0"/>
                </a:defRPr>
              </a:lvl3pPr>
              <a:lvl4pPr marL="1600200" indent="-228600" eaLnBrk="0" hangingPunct="0">
                <a:lnSpc>
                  <a:spcPct val="95000"/>
                </a:lnSpc>
                <a:buFont typeface="Arial" pitchFamily="34" charset="0"/>
                <a:buChar char="»"/>
                <a:defRPr sz="1600">
                  <a:solidFill>
                    <a:schemeClr val="tx1"/>
                  </a:solidFill>
                  <a:latin typeface="Arial" pitchFamily="34" charset="0"/>
                </a:defRPr>
              </a:lvl4pPr>
              <a:lvl5pPr marL="2057400" indent="-228600" eaLnBrk="0" hangingPunct="0">
                <a:lnSpc>
                  <a:spcPct val="95000"/>
                </a:lnSpc>
                <a:buFont typeface="Arial" pitchFamily="34" charset="0"/>
                <a:buChar char="»"/>
                <a:defRPr sz="1600">
                  <a:solidFill>
                    <a:schemeClr val="tx1"/>
                  </a:solidFill>
                  <a:latin typeface="Arial" pitchFamily="34" charset="0"/>
                </a:defRPr>
              </a:lvl5pPr>
              <a:lvl6pPr marL="25146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6pPr>
              <a:lvl7pPr marL="29718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7pPr>
              <a:lvl8pPr marL="34290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8pPr>
              <a:lvl9pPr marL="38862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9pPr>
            </a:lstStyle>
            <a:p>
              <a:pPr eaLnBrk="1" hangingPunct="1">
                <a:lnSpc>
                  <a:spcPct val="100000"/>
                </a:lnSpc>
                <a:buFontTx/>
                <a:buNone/>
              </a:pPr>
              <a:r>
                <a:rPr lang="en-US" altLang="en-US" sz="1000" b="0" dirty="0" smtClean="0">
                  <a:solidFill>
                    <a:srgbClr val="000000"/>
                  </a:solidFill>
                </a:rPr>
                <a:t>STOXX Europe 600</a:t>
              </a:r>
              <a:endParaRPr lang="en-US" altLang="en-US" sz="1000" b="0" dirty="0">
                <a:solidFill>
                  <a:srgbClr val="000000"/>
                </a:solidFill>
              </a:endParaRPr>
            </a:p>
          </p:txBody>
        </p:sp>
      </p:grpSp>
      <p:sp>
        <p:nvSpPr>
          <p:cNvPr id="16" name="Text Placeholder 1"/>
          <p:cNvSpPr>
            <a:spLocks noGrp="1"/>
          </p:cNvSpPr>
          <p:nvPr>
            <p:ph type="body" sz="quarter" idx="12"/>
          </p:nvPr>
        </p:nvSpPr>
        <p:spPr>
          <a:xfrm>
            <a:off x="1734393" y="6498102"/>
            <a:ext cx="7410620" cy="171450"/>
          </a:xfrm>
        </p:spPr>
        <p:txBody>
          <a:bodyPr/>
          <a:lstStyle/>
          <a:p>
            <a:r>
              <a:rPr lang="en-US" dirty="0" smtClean="0"/>
              <a:t>Index performance since launch,  USD NR.</a:t>
            </a:r>
            <a:endParaRPr lang="en-US" dirty="0"/>
          </a:p>
        </p:txBody>
      </p:sp>
      <p:sp>
        <p:nvSpPr>
          <p:cNvPr id="18" name="Rectangle 3"/>
          <p:cNvSpPr>
            <a:spLocks noChangeArrowheads="1"/>
          </p:cNvSpPr>
          <p:nvPr/>
        </p:nvSpPr>
        <p:spPr bwMode="auto">
          <a:xfrm>
            <a:off x="443604" y="2308821"/>
            <a:ext cx="4282386" cy="1723549"/>
          </a:xfrm>
          <a:prstGeom prst="rect">
            <a:avLst/>
          </a:prstGeom>
          <a:noFill/>
          <a:ln w="9525">
            <a:noFill/>
            <a:miter lim="800000"/>
            <a:headEnd/>
            <a:tailEnd/>
          </a:ln>
        </p:spPr>
        <p:txBody>
          <a:bodyPr wrap="square" lIns="0" tIns="0" rIns="0" bIns="0">
            <a:spAutoFit/>
          </a:bodyPr>
          <a:lstStyle/>
          <a:p>
            <a:pPr marL="285750" indent="-285750">
              <a:buFont typeface="Arial" panose="020B0604020202020204" pitchFamily="34" charset="0"/>
              <a:buChar char="»"/>
            </a:pPr>
            <a:r>
              <a:rPr lang="en-US" sz="1400" dirty="0" smtClean="0"/>
              <a:t>With an annualized return of 19% (in USD terms) over the last two years, the STOXX Europe Maximum Dividend outperformed the overall European equity market (15%)</a:t>
            </a:r>
          </a:p>
          <a:p>
            <a:pPr marL="285750" indent="-285750">
              <a:buFont typeface="Arial" panose="020B0604020202020204" pitchFamily="34" charset="0"/>
              <a:buChar char="»"/>
            </a:pPr>
            <a:r>
              <a:rPr lang="en-US" sz="1400" b="0" dirty="0" smtClean="0"/>
              <a:t>This outperformance has been achieved with volatility levels similar to those of the broad market leading to a significantly better </a:t>
            </a:r>
            <a:r>
              <a:rPr lang="en-US" sz="1400" dirty="0"/>
              <a:t>S</a:t>
            </a:r>
            <a:r>
              <a:rPr lang="en-US" sz="1400" b="0" dirty="0" smtClean="0"/>
              <a:t>harpe ratio for the maximum dividend index</a:t>
            </a:r>
            <a:endParaRPr lang="en-US" sz="1400" b="0" dirty="0"/>
          </a:p>
        </p:txBody>
      </p:sp>
      <p:graphicFrame>
        <p:nvGraphicFramePr>
          <p:cNvPr id="17" name="Group 62"/>
          <p:cNvGraphicFramePr>
            <a:graphicFrameLocks noGrp="1"/>
          </p:cNvGraphicFramePr>
          <p:nvPr>
            <p:custDataLst>
              <p:tags r:id="rId1"/>
            </p:custDataLst>
            <p:extLst>
              <p:ext uri="{D42A27DB-BD31-4B8C-83A1-F6EECF244321}">
                <p14:modId xmlns:p14="http://schemas.microsoft.com/office/powerpoint/2010/main" val="3875263449"/>
              </p:ext>
            </p:extLst>
          </p:nvPr>
        </p:nvGraphicFramePr>
        <p:xfrm>
          <a:off x="368300" y="4032370"/>
          <a:ext cx="4368800" cy="2224152"/>
        </p:xfrm>
        <a:graphic>
          <a:graphicData uri="http://schemas.openxmlformats.org/drawingml/2006/table">
            <a:tbl>
              <a:tblPr>
                <a:tableStyleId>{616DA210-FB5B-4158-B5E0-FEB733F419BA}</a:tableStyleId>
              </a:tblPr>
              <a:tblGrid>
                <a:gridCol w="2243287"/>
                <a:gridCol w="1072302"/>
                <a:gridCol w="1053211"/>
              </a:tblGrid>
              <a:tr h="55242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panose="020B0604020202020204" pitchFamily="34" charset="0"/>
                        <a:cs typeface="Arial" panose="020B0604020202020204" pitchFamily="34" charset="0"/>
                      </a:endParaRPr>
                    </a:p>
                  </a:txBody>
                  <a:tcPr marL="0" marR="72001" marT="72000" marB="72000"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STOXX Europe Max Dividend 40</a:t>
                      </a:r>
                      <a:endParaRPr kumimoji="0" lang="en-US" sz="1000" b="1" i="0" u="none" strike="noStrike" kern="1200" cap="none" normalizeH="0" baseline="0" noProof="0" dirty="0">
                        <a:ln>
                          <a:noFill/>
                        </a:ln>
                        <a:solidFill>
                          <a:schemeClr val="bg1"/>
                        </a:solidFill>
                        <a:effectLst/>
                        <a:latin typeface="Arial" panose="020B0604020202020204" pitchFamily="34" charset="0"/>
                        <a:ea typeface=""/>
                        <a:cs typeface="Arial" panose="020B0604020202020204" pitchFamily="34" charset="0"/>
                      </a:endParaRPr>
                    </a:p>
                  </a:txBody>
                  <a:tcPr marL="72001" marR="72001"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STOXX Europe 600</a:t>
                      </a:r>
                      <a:endParaRPr kumimoji="0" lang="en-US" sz="1000" b="1" i="0" u="none" strike="noStrike" kern="1200" cap="none" normalizeH="0" baseline="0" noProof="0" dirty="0">
                        <a:ln>
                          <a:noFill/>
                        </a:ln>
                        <a:solidFill>
                          <a:schemeClr val="bg1"/>
                        </a:solidFill>
                        <a:effectLst/>
                        <a:latin typeface="Arial" panose="020B0604020202020204" pitchFamily="34" charset="0"/>
                        <a:ea typeface=""/>
                        <a:cs typeface="Arial" panose="020B0604020202020204" pitchFamily="34" charset="0"/>
                      </a:endParaRPr>
                    </a:p>
                  </a:txBody>
                  <a:tcPr marL="72001" marR="72001"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r>
              <a:tr h="26200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 Year Return </a:t>
                      </a: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0%</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0.9%</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200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 Year Return (Annualized)</a:t>
                      </a: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9.4%</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5.0%</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2009">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 Year Risk (standard deviation)</a:t>
                      </a:r>
                      <a:endParaRPr kumimoji="0" lang="en-US" sz="9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2.0%</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2.0%</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200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 Year Risk (standard deviation</a:t>
                      </a:r>
                      <a:endParaRPr kumimoji="0" lang="en-US" sz="9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3.9%</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3.3%</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200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Max Drawdown</a:t>
                      </a:r>
                      <a:r>
                        <a:rPr kumimoji="0" lang="en-US" sz="9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1)</a:t>
                      </a:r>
                      <a:endParaRPr kumimoji="0" lang="en-US" sz="9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23.3%</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8%</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200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Sharpe ratio (2 year)</a:t>
                      </a:r>
                      <a:endParaRPr kumimoji="0" lang="en-US" sz="9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33</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10</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5050404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platzhalter 25"/>
          <p:cNvSpPr>
            <a:spLocks noGrp="1"/>
          </p:cNvSpPr>
          <p:nvPr>
            <p:ph type="body" sz="quarter" idx="13"/>
          </p:nvPr>
        </p:nvSpPr>
        <p:spPr>
          <a:xfrm>
            <a:off x="368300" y="1338362"/>
            <a:ext cx="9158288" cy="292388"/>
          </a:xfrm>
        </p:spPr>
        <p:txBody>
          <a:bodyPr/>
          <a:lstStyle/>
          <a:p>
            <a:r>
              <a:rPr lang="en-US" dirty="0" smtClean="0"/>
              <a:t>STOXX Global Max Dividend 40 vs Benchmark</a:t>
            </a:r>
            <a:endParaRPr lang="de-DE" dirty="0"/>
          </a:p>
        </p:txBody>
      </p:sp>
      <p:sp>
        <p:nvSpPr>
          <p:cNvPr id="85" name="Rectangle 2"/>
          <p:cNvSpPr>
            <a:spLocks noChangeArrowheads="1"/>
          </p:cNvSpPr>
          <p:nvPr/>
        </p:nvSpPr>
        <p:spPr bwMode="auto">
          <a:xfrm>
            <a:off x="368303" y="1842510"/>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prstClr val="white"/>
                </a:solidFill>
              </a:rPr>
              <a:t>Risk and Return Analysis</a:t>
            </a:r>
            <a:endParaRPr lang="en-US" sz="1400" b="1" dirty="0">
              <a:solidFill>
                <a:prstClr val="white"/>
              </a:solidFill>
            </a:endParaRPr>
          </a:p>
        </p:txBody>
      </p:sp>
      <p:sp>
        <p:nvSpPr>
          <p:cNvPr id="86" name="Rectangle 2"/>
          <p:cNvSpPr>
            <a:spLocks noChangeArrowheads="1"/>
          </p:cNvSpPr>
          <p:nvPr/>
        </p:nvSpPr>
        <p:spPr bwMode="auto">
          <a:xfrm>
            <a:off x="5167315" y="1842510"/>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err="1" smtClean="0">
                <a:solidFill>
                  <a:prstClr val="white"/>
                </a:solidFill>
              </a:rPr>
              <a:t>Backtest</a:t>
            </a:r>
            <a:r>
              <a:rPr lang="en-US" sz="1400" b="1" dirty="0" smtClean="0">
                <a:solidFill>
                  <a:prstClr val="white"/>
                </a:solidFill>
              </a:rPr>
              <a:t> (Sept 2012 – Nov 2014)</a:t>
            </a:r>
            <a:r>
              <a:rPr lang="en-US" sz="1400" b="1" baseline="30000" dirty="0" smtClean="0">
                <a:solidFill>
                  <a:prstClr val="white"/>
                </a:solidFill>
              </a:rPr>
              <a:t>1)</a:t>
            </a:r>
            <a:endParaRPr lang="en-US" sz="1400" b="1" dirty="0">
              <a:solidFill>
                <a:prstClr val="white"/>
              </a:solidFill>
            </a:endParaRPr>
          </a:p>
        </p:txBody>
      </p:sp>
      <p:graphicFrame>
        <p:nvGraphicFramePr>
          <p:cNvPr id="19" name="Object 9"/>
          <p:cNvGraphicFramePr>
            <a:graphicFrameLocks/>
          </p:cNvGraphicFramePr>
          <p:nvPr>
            <p:extLst>
              <p:ext uri="{D42A27DB-BD31-4B8C-83A1-F6EECF244321}">
                <p14:modId xmlns:p14="http://schemas.microsoft.com/office/powerpoint/2010/main" val="309026092"/>
              </p:ext>
            </p:extLst>
          </p:nvPr>
        </p:nvGraphicFramePr>
        <p:xfrm>
          <a:off x="5163313" y="2154262"/>
          <a:ext cx="4361689" cy="3407442"/>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 Placeholder 1"/>
          <p:cNvSpPr>
            <a:spLocks noGrp="1"/>
          </p:cNvSpPr>
          <p:nvPr>
            <p:ph type="body" sz="quarter" idx="12"/>
          </p:nvPr>
        </p:nvSpPr>
        <p:spPr>
          <a:xfrm>
            <a:off x="1734393" y="6498102"/>
            <a:ext cx="7410620" cy="171450"/>
          </a:xfrm>
        </p:spPr>
        <p:txBody>
          <a:bodyPr/>
          <a:lstStyle/>
          <a:p>
            <a:r>
              <a:rPr lang="en-US" dirty="0" smtClean="0"/>
              <a:t>Index performance since launch,  USD NR.</a:t>
            </a:r>
            <a:endParaRPr lang="en-US" dirty="0"/>
          </a:p>
        </p:txBody>
      </p:sp>
      <p:grpSp>
        <p:nvGrpSpPr>
          <p:cNvPr id="27" name="Group 5"/>
          <p:cNvGrpSpPr>
            <a:grpSpLocks/>
          </p:cNvGrpSpPr>
          <p:nvPr/>
        </p:nvGrpSpPr>
        <p:grpSpPr bwMode="auto">
          <a:xfrm>
            <a:off x="5390039" y="5812995"/>
            <a:ext cx="2166077" cy="153987"/>
            <a:chOff x="176" y="3893"/>
            <a:chExt cx="1260" cy="97"/>
          </a:xfrm>
        </p:grpSpPr>
        <p:sp>
          <p:nvSpPr>
            <p:cNvPr id="28" name="Rectangle 6"/>
            <p:cNvSpPr>
              <a:spLocks noChangeArrowheads="1"/>
            </p:cNvSpPr>
            <p:nvPr/>
          </p:nvSpPr>
          <p:spPr bwMode="auto">
            <a:xfrm>
              <a:off x="176" y="3896"/>
              <a:ext cx="136" cy="91"/>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eaLnBrk="0" hangingPunct="0">
                <a:lnSpc>
                  <a:spcPct val="95000"/>
                </a:lnSpc>
                <a:buFont typeface="Arial" pitchFamily="34" charset="0"/>
                <a:defRPr sz="1600" b="1">
                  <a:solidFill>
                    <a:schemeClr val="tx1"/>
                  </a:solidFill>
                  <a:latin typeface="Arial" pitchFamily="34" charset="0"/>
                </a:defRPr>
              </a:lvl1pPr>
              <a:lvl2pPr marL="742950" indent="-285750" eaLnBrk="0" hangingPunct="0">
                <a:lnSpc>
                  <a:spcPct val="95000"/>
                </a:lnSpc>
                <a:buFont typeface="Arial" pitchFamily="34" charset="0"/>
                <a:buChar char="»"/>
                <a:defRPr sz="1600">
                  <a:solidFill>
                    <a:schemeClr val="tx1"/>
                  </a:solidFill>
                  <a:latin typeface="Arial" pitchFamily="34" charset="0"/>
                </a:defRPr>
              </a:lvl2pPr>
              <a:lvl3pPr marL="1143000" indent="-228600" eaLnBrk="0" hangingPunct="0">
                <a:lnSpc>
                  <a:spcPct val="95000"/>
                </a:lnSpc>
                <a:buFont typeface="Arial" pitchFamily="34" charset="0"/>
                <a:buChar char="»"/>
                <a:defRPr sz="1600">
                  <a:solidFill>
                    <a:schemeClr val="tx1"/>
                  </a:solidFill>
                  <a:latin typeface="Arial" pitchFamily="34" charset="0"/>
                </a:defRPr>
              </a:lvl3pPr>
              <a:lvl4pPr marL="1600200" indent="-228600" eaLnBrk="0" hangingPunct="0">
                <a:lnSpc>
                  <a:spcPct val="95000"/>
                </a:lnSpc>
                <a:buFont typeface="Arial" pitchFamily="34" charset="0"/>
                <a:buChar char="»"/>
                <a:defRPr sz="1600">
                  <a:solidFill>
                    <a:schemeClr val="tx1"/>
                  </a:solidFill>
                  <a:latin typeface="Arial" pitchFamily="34" charset="0"/>
                </a:defRPr>
              </a:lvl4pPr>
              <a:lvl5pPr marL="2057400" indent="-228600" eaLnBrk="0" hangingPunct="0">
                <a:lnSpc>
                  <a:spcPct val="95000"/>
                </a:lnSpc>
                <a:buFont typeface="Arial" pitchFamily="34" charset="0"/>
                <a:buChar char="»"/>
                <a:defRPr sz="1600">
                  <a:solidFill>
                    <a:schemeClr val="tx1"/>
                  </a:solidFill>
                  <a:latin typeface="Arial" pitchFamily="34" charset="0"/>
                </a:defRPr>
              </a:lvl5pPr>
              <a:lvl6pPr marL="25146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6pPr>
              <a:lvl7pPr marL="29718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7pPr>
              <a:lvl8pPr marL="34290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8pPr>
              <a:lvl9pPr marL="38862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9pPr>
            </a:lstStyle>
            <a:p>
              <a:pPr eaLnBrk="1" hangingPunct="1">
                <a:lnSpc>
                  <a:spcPct val="100000"/>
                </a:lnSpc>
                <a:buFontTx/>
                <a:buNone/>
              </a:pPr>
              <a:endParaRPr lang="en-US" altLang="en-US" sz="1800" b="0">
                <a:solidFill>
                  <a:srgbClr val="000000"/>
                </a:solidFill>
              </a:endParaRPr>
            </a:p>
          </p:txBody>
        </p:sp>
        <p:sp>
          <p:nvSpPr>
            <p:cNvPr id="35" name="Legend"/>
            <p:cNvSpPr txBox="1">
              <a:spLocks noChangeArrowheads="1"/>
            </p:cNvSpPr>
            <p:nvPr/>
          </p:nvSpPr>
          <p:spPr bwMode="auto">
            <a:xfrm>
              <a:off x="376" y="3893"/>
              <a:ext cx="106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lnSpc>
                  <a:spcPct val="95000"/>
                </a:lnSpc>
                <a:buFont typeface="Arial" pitchFamily="34" charset="0"/>
                <a:defRPr sz="1600" b="1">
                  <a:solidFill>
                    <a:schemeClr val="tx1"/>
                  </a:solidFill>
                  <a:latin typeface="Arial" pitchFamily="34" charset="0"/>
                </a:defRPr>
              </a:lvl1pPr>
              <a:lvl2pPr marL="742950" indent="-285750" eaLnBrk="0" hangingPunct="0">
                <a:lnSpc>
                  <a:spcPct val="95000"/>
                </a:lnSpc>
                <a:buFont typeface="Arial" pitchFamily="34" charset="0"/>
                <a:buChar char="»"/>
                <a:defRPr sz="1600">
                  <a:solidFill>
                    <a:schemeClr val="tx1"/>
                  </a:solidFill>
                  <a:latin typeface="Arial" pitchFamily="34" charset="0"/>
                </a:defRPr>
              </a:lvl2pPr>
              <a:lvl3pPr marL="1143000" indent="-228600" eaLnBrk="0" hangingPunct="0">
                <a:lnSpc>
                  <a:spcPct val="95000"/>
                </a:lnSpc>
                <a:buFont typeface="Arial" pitchFamily="34" charset="0"/>
                <a:buChar char="»"/>
                <a:defRPr sz="1600">
                  <a:solidFill>
                    <a:schemeClr val="tx1"/>
                  </a:solidFill>
                  <a:latin typeface="Arial" pitchFamily="34" charset="0"/>
                </a:defRPr>
              </a:lvl3pPr>
              <a:lvl4pPr marL="1600200" indent="-228600" eaLnBrk="0" hangingPunct="0">
                <a:lnSpc>
                  <a:spcPct val="95000"/>
                </a:lnSpc>
                <a:buFont typeface="Arial" pitchFamily="34" charset="0"/>
                <a:buChar char="»"/>
                <a:defRPr sz="1600">
                  <a:solidFill>
                    <a:schemeClr val="tx1"/>
                  </a:solidFill>
                  <a:latin typeface="Arial" pitchFamily="34" charset="0"/>
                </a:defRPr>
              </a:lvl4pPr>
              <a:lvl5pPr marL="2057400" indent="-228600" eaLnBrk="0" hangingPunct="0">
                <a:lnSpc>
                  <a:spcPct val="95000"/>
                </a:lnSpc>
                <a:buFont typeface="Arial" pitchFamily="34" charset="0"/>
                <a:buChar char="»"/>
                <a:defRPr sz="1600">
                  <a:solidFill>
                    <a:schemeClr val="tx1"/>
                  </a:solidFill>
                  <a:latin typeface="Arial" pitchFamily="34" charset="0"/>
                </a:defRPr>
              </a:lvl5pPr>
              <a:lvl6pPr marL="25146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6pPr>
              <a:lvl7pPr marL="29718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7pPr>
              <a:lvl8pPr marL="34290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8pPr>
              <a:lvl9pPr marL="38862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9pPr>
            </a:lstStyle>
            <a:p>
              <a:pPr eaLnBrk="1" hangingPunct="1">
                <a:lnSpc>
                  <a:spcPct val="100000"/>
                </a:lnSpc>
                <a:buFontTx/>
                <a:buNone/>
              </a:pPr>
              <a:r>
                <a:rPr lang="en-US" altLang="en-US" sz="1000" b="0" dirty="0" smtClean="0">
                  <a:solidFill>
                    <a:srgbClr val="000000"/>
                  </a:solidFill>
                </a:rPr>
                <a:t>STOXX Global Max Dividend 40</a:t>
              </a:r>
              <a:endParaRPr lang="en-US" altLang="en-US" sz="1000" b="0" dirty="0">
                <a:solidFill>
                  <a:srgbClr val="000000"/>
                </a:solidFill>
              </a:endParaRPr>
            </a:p>
          </p:txBody>
        </p:sp>
      </p:grpSp>
      <p:grpSp>
        <p:nvGrpSpPr>
          <p:cNvPr id="36" name="Group 1"/>
          <p:cNvGrpSpPr>
            <a:grpSpLocks/>
          </p:cNvGrpSpPr>
          <p:nvPr/>
        </p:nvGrpSpPr>
        <p:grpSpPr bwMode="auto">
          <a:xfrm>
            <a:off x="7860431" y="5817757"/>
            <a:ext cx="1498120" cy="153888"/>
            <a:chOff x="5262563" y="5705284"/>
            <a:chExt cx="1497852" cy="153788"/>
          </a:xfrm>
        </p:grpSpPr>
        <p:sp>
          <p:nvSpPr>
            <p:cNvPr id="37" name="Rectangle 6"/>
            <p:cNvSpPr>
              <a:spLocks noChangeArrowheads="1"/>
            </p:cNvSpPr>
            <p:nvPr/>
          </p:nvSpPr>
          <p:spPr bwMode="auto">
            <a:xfrm>
              <a:off x="5262563" y="5710044"/>
              <a:ext cx="233320" cy="144368"/>
            </a:xfrm>
            <a:prstGeom prst="rect">
              <a:avLst/>
            </a:prstGeom>
            <a:solidFill>
              <a:schemeClr val="accent4"/>
            </a:solidFill>
            <a:ln w="9525" algn="ctr">
              <a:noFill/>
              <a:miter lim="800000"/>
              <a:headEnd/>
              <a:tailEnd/>
            </a:ln>
          </p:spPr>
          <p:txBody>
            <a:bodyPr wrap="none"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en-US">
                <a:solidFill>
                  <a:srgbClr val="A19BB8"/>
                </a:solidFill>
              </a:endParaRPr>
            </a:p>
          </p:txBody>
        </p:sp>
        <p:sp>
          <p:nvSpPr>
            <p:cNvPr id="38" name="Legend"/>
            <p:cNvSpPr txBox="1">
              <a:spLocks noChangeArrowheads="1"/>
            </p:cNvSpPr>
            <p:nvPr/>
          </p:nvSpPr>
          <p:spPr bwMode="auto">
            <a:xfrm>
              <a:off x="5606459" y="5705284"/>
              <a:ext cx="1153956" cy="15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lnSpc>
                  <a:spcPct val="95000"/>
                </a:lnSpc>
                <a:buFont typeface="Arial" pitchFamily="34" charset="0"/>
                <a:defRPr sz="1600" b="1">
                  <a:solidFill>
                    <a:schemeClr val="tx1"/>
                  </a:solidFill>
                  <a:latin typeface="Arial" pitchFamily="34" charset="0"/>
                </a:defRPr>
              </a:lvl1pPr>
              <a:lvl2pPr marL="742950" indent="-285750" eaLnBrk="0" hangingPunct="0">
                <a:lnSpc>
                  <a:spcPct val="95000"/>
                </a:lnSpc>
                <a:buFont typeface="Arial" pitchFamily="34" charset="0"/>
                <a:buChar char="»"/>
                <a:defRPr sz="1600">
                  <a:solidFill>
                    <a:schemeClr val="tx1"/>
                  </a:solidFill>
                  <a:latin typeface="Arial" pitchFamily="34" charset="0"/>
                </a:defRPr>
              </a:lvl2pPr>
              <a:lvl3pPr marL="1143000" indent="-228600" eaLnBrk="0" hangingPunct="0">
                <a:lnSpc>
                  <a:spcPct val="95000"/>
                </a:lnSpc>
                <a:buFont typeface="Arial" pitchFamily="34" charset="0"/>
                <a:buChar char="»"/>
                <a:defRPr sz="1600">
                  <a:solidFill>
                    <a:schemeClr val="tx1"/>
                  </a:solidFill>
                  <a:latin typeface="Arial" pitchFamily="34" charset="0"/>
                </a:defRPr>
              </a:lvl3pPr>
              <a:lvl4pPr marL="1600200" indent="-228600" eaLnBrk="0" hangingPunct="0">
                <a:lnSpc>
                  <a:spcPct val="95000"/>
                </a:lnSpc>
                <a:buFont typeface="Arial" pitchFamily="34" charset="0"/>
                <a:buChar char="»"/>
                <a:defRPr sz="1600">
                  <a:solidFill>
                    <a:schemeClr val="tx1"/>
                  </a:solidFill>
                  <a:latin typeface="Arial" pitchFamily="34" charset="0"/>
                </a:defRPr>
              </a:lvl4pPr>
              <a:lvl5pPr marL="2057400" indent="-228600" eaLnBrk="0" hangingPunct="0">
                <a:lnSpc>
                  <a:spcPct val="95000"/>
                </a:lnSpc>
                <a:buFont typeface="Arial" pitchFamily="34" charset="0"/>
                <a:buChar char="»"/>
                <a:defRPr sz="1600">
                  <a:solidFill>
                    <a:schemeClr val="tx1"/>
                  </a:solidFill>
                  <a:latin typeface="Arial" pitchFamily="34" charset="0"/>
                </a:defRPr>
              </a:lvl5pPr>
              <a:lvl6pPr marL="25146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6pPr>
              <a:lvl7pPr marL="29718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7pPr>
              <a:lvl8pPr marL="34290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8pPr>
              <a:lvl9pPr marL="3886200" indent="-228600" eaLnBrk="0" fontAlgn="base" hangingPunct="0">
                <a:lnSpc>
                  <a:spcPct val="95000"/>
                </a:lnSpc>
                <a:spcBef>
                  <a:spcPct val="0"/>
                </a:spcBef>
                <a:spcAft>
                  <a:spcPct val="0"/>
                </a:spcAft>
                <a:buFont typeface="Arial" pitchFamily="34" charset="0"/>
                <a:buChar char="»"/>
                <a:defRPr sz="1600">
                  <a:solidFill>
                    <a:schemeClr val="tx1"/>
                  </a:solidFill>
                  <a:latin typeface="Arial" pitchFamily="34" charset="0"/>
                </a:defRPr>
              </a:lvl9pPr>
            </a:lstStyle>
            <a:p>
              <a:pPr eaLnBrk="1" hangingPunct="1">
                <a:lnSpc>
                  <a:spcPct val="100000"/>
                </a:lnSpc>
                <a:buFontTx/>
                <a:buNone/>
              </a:pPr>
              <a:r>
                <a:rPr lang="en-US" altLang="en-US" sz="1000" b="0" dirty="0" smtClean="0">
                  <a:solidFill>
                    <a:srgbClr val="000000"/>
                  </a:solidFill>
                </a:rPr>
                <a:t>STOXX Global 1800</a:t>
              </a:r>
              <a:endParaRPr lang="en-US" altLang="en-US" sz="1000" b="0" dirty="0">
                <a:solidFill>
                  <a:srgbClr val="000000"/>
                </a:solidFill>
              </a:endParaRPr>
            </a:p>
          </p:txBody>
        </p:sp>
      </p:grpSp>
      <p:sp>
        <p:nvSpPr>
          <p:cNvPr id="15" name="Rectangle 3"/>
          <p:cNvSpPr>
            <a:spLocks noChangeArrowheads="1"/>
          </p:cNvSpPr>
          <p:nvPr/>
        </p:nvSpPr>
        <p:spPr bwMode="auto">
          <a:xfrm>
            <a:off x="443604" y="2308821"/>
            <a:ext cx="4282386" cy="1723549"/>
          </a:xfrm>
          <a:prstGeom prst="rect">
            <a:avLst/>
          </a:prstGeom>
          <a:noFill/>
          <a:ln w="9525">
            <a:noFill/>
            <a:miter lim="800000"/>
            <a:headEnd/>
            <a:tailEnd/>
          </a:ln>
        </p:spPr>
        <p:txBody>
          <a:bodyPr wrap="square" lIns="0" tIns="0" rIns="0" bIns="0">
            <a:spAutoFit/>
          </a:bodyPr>
          <a:lstStyle/>
          <a:p>
            <a:pPr marL="285750" indent="-285750">
              <a:buFont typeface="Arial" panose="020B0604020202020204" pitchFamily="34" charset="0"/>
              <a:buChar char="»"/>
            </a:pPr>
            <a:r>
              <a:rPr lang="en-US" sz="1400" dirty="0" smtClean="0"/>
              <a:t>With an annualized return of 17% (in USD terms) over the last two years, the STOXX Global Maximum Dividend slightly underperformed the global market (19%)</a:t>
            </a:r>
          </a:p>
          <a:p>
            <a:pPr marL="285750" indent="-285750">
              <a:buFont typeface="Arial" panose="020B0604020202020204" pitchFamily="34" charset="0"/>
              <a:buChar char="»"/>
            </a:pPr>
            <a:r>
              <a:rPr lang="en-US" sz="1400" b="0" dirty="0" smtClean="0"/>
              <a:t>Simultaneously, the STOXX Global Maximum Dividend displayed slightly higher risk levels leading to lower Sharpe ratios compared to the STOXX Global 1800</a:t>
            </a:r>
            <a:endParaRPr lang="en-US" sz="1400" b="0" dirty="0"/>
          </a:p>
        </p:txBody>
      </p:sp>
      <p:sp>
        <p:nvSpPr>
          <p:cNvPr id="18" name="Rectangle 2"/>
          <p:cNvSpPr>
            <a:spLocks noGrp="1" noChangeArrowheads="1"/>
          </p:cNvSpPr>
          <p:nvPr>
            <p:ph type="title"/>
          </p:nvPr>
        </p:nvSpPr>
        <p:spPr>
          <a:xfrm>
            <a:off x="368300" y="392316"/>
            <a:ext cx="9158288" cy="771322"/>
          </a:xfrm>
        </p:spPr>
        <p:txBody>
          <a:bodyPr>
            <a:normAutofit/>
          </a:bodyPr>
          <a:lstStyle/>
          <a:p>
            <a:r>
              <a:rPr lang="en-US" dirty="0" smtClean="0"/>
              <a:t>STOXX Europe Maximum Dividend Index shows slightly higher risk than global market</a:t>
            </a:r>
            <a:endParaRPr lang="en-US" dirty="0" smtClean="0">
              <a:solidFill>
                <a:schemeClr val="tx1"/>
              </a:solidFill>
            </a:endParaRPr>
          </a:p>
        </p:txBody>
      </p:sp>
      <p:graphicFrame>
        <p:nvGraphicFramePr>
          <p:cNvPr id="16" name="Group 62"/>
          <p:cNvGraphicFramePr>
            <a:graphicFrameLocks noGrp="1"/>
          </p:cNvGraphicFramePr>
          <p:nvPr>
            <p:custDataLst>
              <p:tags r:id="rId1"/>
            </p:custDataLst>
            <p:extLst>
              <p:ext uri="{D42A27DB-BD31-4B8C-83A1-F6EECF244321}">
                <p14:modId xmlns:p14="http://schemas.microsoft.com/office/powerpoint/2010/main" val="40773869"/>
              </p:ext>
            </p:extLst>
          </p:nvPr>
        </p:nvGraphicFramePr>
        <p:xfrm>
          <a:off x="368300" y="4032370"/>
          <a:ext cx="4368800" cy="2224152"/>
        </p:xfrm>
        <a:graphic>
          <a:graphicData uri="http://schemas.openxmlformats.org/drawingml/2006/table">
            <a:tbl>
              <a:tblPr>
                <a:tableStyleId>{616DA210-FB5B-4158-B5E0-FEB733F419BA}</a:tableStyleId>
              </a:tblPr>
              <a:tblGrid>
                <a:gridCol w="2243287"/>
                <a:gridCol w="1072302"/>
                <a:gridCol w="1053211"/>
              </a:tblGrid>
              <a:tr h="55242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panose="020B0604020202020204" pitchFamily="34" charset="0"/>
                        <a:cs typeface="Arial" panose="020B0604020202020204" pitchFamily="34" charset="0"/>
                      </a:endParaRPr>
                    </a:p>
                  </a:txBody>
                  <a:tcPr marL="0" marR="72001" marT="72000" marB="72000"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STOXX Global Max Dividend 40</a:t>
                      </a:r>
                      <a:endParaRPr kumimoji="0" lang="en-US" sz="1000" b="1" i="0" u="none" strike="noStrike" kern="1200" cap="none" normalizeH="0" baseline="0" noProof="0" dirty="0">
                        <a:ln>
                          <a:noFill/>
                        </a:ln>
                        <a:solidFill>
                          <a:schemeClr val="bg1"/>
                        </a:solidFill>
                        <a:effectLst/>
                        <a:latin typeface="Arial" panose="020B0604020202020204" pitchFamily="34" charset="0"/>
                        <a:ea typeface=""/>
                        <a:cs typeface="Arial" panose="020B0604020202020204" pitchFamily="34" charset="0"/>
                      </a:endParaRPr>
                    </a:p>
                  </a:txBody>
                  <a:tcPr marL="72001" marR="72001"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STOXX Global 1800</a:t>
                      </a:r>
                      <a:endParaRPr kumimoji="0" lang="en-US" sz="1000" b="1" i="0" u="none" strike="noStrike" kern="1200" cap="none" normalizeH="0" baseline="0" noProof="0" dirty="0">
                        <a:ln>
                          <a:noFill/>
                        </a:ln>
                        <a:solidFill>
                          <a:schemeClr val="bg1"/>
                        </a:solidFill>
                        <a:effectLst/>
                        <a:latin typeface="Arial" panose="020B0604020202020204" pitchFamily="34" charset="0"/>
                        <a:ea typeface=""/>
                        <a:cs typeface="Arial" panose="020B0604020202020204" pitchFamily="34" charset="0"/>
                      </a:endParaRPr>
                    </a:p>
                  </a:txBody>
                  <a:tcPr marL="72001" marR="72001"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r>
              <a:tr h="26200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 Year Return </a:t>
                      </a: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3%</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7.6%</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200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 Year Return (Annualized)</a:t>
                      </a: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6.9%</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8.8%</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2009">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 Year Risk (standard deviation)</a:t>
                      </a:r>
                      <a:endParaRPr kumimoji="0" lang="en-US" sz="9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0.0%</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8.6%</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200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 Year Risk (standard deviation</a:t>
                      </a:r>
                      <a:endParaRPr kumimoji="0" lang="en-US" sz="9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2.2%</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9.3%</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200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Max Drawdown</a:t>
                      </a:r>
                      <a:r>
                        <a:rPr kumimoji="0" lang="en-US" sz="9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1)</a:t>
                      </a:r>
                      <a:endParaRPr kumimoji="0" lang="en-US" sz="9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3.6%</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9.4%</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62009">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9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Sharpe ratio (2 year)</a:t>
                      </a:r>
                      <a:endParaRPr kumimoji="0" lang="en-US" sz="9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72001"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33</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0" i="0" u="none" strike="noStrike" dirty="0" smtClean="0">
                          <a:solidFill>
                            <a:schemeClr val="tx1"/>
                          </a:solidFill>
                          <a:effectLst/>
                          <a:latin typeface="Arial" panose="020B0604020202020204" pitchFamily="34" charset="0"/>
                          <a:cs typeface="Arial" panose="020B0604020202020204" pitchFamily="34" charset="0"/>
                        </a:rPr>
                        <a:t>1.89</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4842367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a:t>
            </a:r>
            <a:r>
              <a:rPr lang="en-US" sz="1200" dirty="0">
                <a:solidFill>
                  <a:srgbClr val="000000"/>
                </a:solidFill>
                <a:ea typeface="ＭＳ Ｐゴシック" pitchFamily="34" charset="-128"/>
              </a:rPr>
              <a:t>h</a:t>
            </a:r>
            <a:r>
              <a:rPr lang="en-US" sz="1200" dirty="0" smtClean="0">
                <a:solidFill>
                  <a:srgbClr val="000000"/>
                </a:solidFill>
                <a:ea typeface="ＭＳ Ｐゴシック" pitchFamily="34" charset="-128"/>
              </a:rPr>
              <a:t>ead of sales</a:t>
            </a: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8255279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smtClean="0"/>
              <a:t>®</a:t>
            </a:r>
            <a:r>
              <a:rPr lang="en-US" sz="1200" b="0" smtClean="0">
                <a:solidFill>
                  <a:srgbClr val="000000"/>
                </a:solidFill>
                <a:latin typeface="Arial"/>
                <a:cs typeface="Arial" charset="0"/>
              </a:rPr>
              <a:t>, DAX</a:t>
            </a:r>
            <a:r>
              <a:rPr lang="en-US" sz="1200" b="0" baseline="30000" smtClean="0"/>
              <a:t>®</a:t>
            </a:r>
            <a:r>
              <a:rPr lang="en-US" sz="1200">
                <a:solidFill>
                  <a:srgbClr val="000000"/>
                </a:solidFill>
                <a:latin typeface="Arial"/>
                <a:cs typeface="Arial" charset="0"/>
              </a:rPr>
              <a:t> </a:t>
            </a:r>
            <a:r>
              <a:rPr lang="en-US" sz="1200" b="0" smtClean="0">
                <a:solidFill>
                  <a:srgbClr val="000000"/>
                </a:solidFill>
                <a:latin typeface="Arial"/>
                <a:cs typeface="Arial" charset="0"/>
              </a:rPr>
              <a:t>or </a:t>
            </a:r>
            <a:r>
              <a:rPr lang="en-US" sz="1200" b="0" dirty="0" smtClean="0">
                <a:solidFill>
                  <a:srgbClr val="000000"/>
                </a:solidFill>
                <a:latin typeface="Arial"/>
                <a:cs typeface="Arial" charset="0"/>
              </a:rPr>
              <a:t>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22420278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heme/theme1.xml><?xml version="1.0" encoding="utf-8"?>
<a:theme xmlns:a="http://schemas.openxmlformats.org/drawingml/2006/main" name="Template_STOXX_Presentations_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7897A2E3-C8CD-456C-8DEA-440FE6627C14}"/>
</file>

<file path=customXml/itemProps2.xml><?xml version="1.0" encoding="utf-8"?>
<ds:datastoreItem xmlns:ds="http://schemas.openxmlformats.org/officeDocument/2006/customXml" ds:itemID="{931D6B00-6C12-470C-904D-01FC8BE2E7D8}"/>
</file>

<file path=customXml/itemProps3.xml><?xml version="1.0" encoding="utf-8"?>
<ds:datastoreItem xmlns:ds="http://schemas.openxmlformats.org/officeDocument/2006/customXml" ds:itemID="{D985BDE8-BA8E-40BF-81AE-92B27BDEACF9}"/>
</file>

<file path=docProps/app.xml><?xml version="1.0" encoding="utf-8"?>
<Properties xmlns="http://schemas.openxmlformats.org/officeDocument/2006/extended-properties" xmlns:vt="http://schemas.openxmlformats.org/officeDocument/2006/docPropsVTypes">
  <Template>Template_STOXX_Presentations_2.0</Template>
  <TotalTime>0</TotalTime>
  <Words>975</Words>
  <Application>Microsoft Office PowerPoint</Application>
  <PresentationFormat>A4 Paper (210x297 mm)</PresentationFormat>
  <Paragraphs>135</Paragraphs>
  <Slides>6</Slides>
  <Notes>3</Notes>
  <HiddenSlides>0</HiddenSlides>
  <MMClips>0</MMClips>
  <ScaleCrop>false</ScaleCrop>
  <HeadingPairs>
    <vt:vector size="4" baseType="variant">
      <vt:variant>
        <vt:lpstr>Theme</vt:lpstr>
      </vt:variant>
      <vt:variant>
        <vt:i4>1</vt:i4>
      </vt:variant>
      <vt:variant>
        <vt:lpstr>Slide Titles</vt:lpstr>
      </vt:variant>
      <vt:variant>
        <vt:i4>6</vt:i4>
      </vt:variant>
    </vt:vector>
  </HeadingPairs>
  <TitlesOfParts>
    <vt:vector size="7" baseType="lpstr">
      <vt:lpstr>Template_STOXX_Presentations_2.0</vt:lpstr>
      <vt:lpstr>STOXX Maximum Dividend Indices</vt:lpstr>
      <vt:lpstr>STOXX Maximum Dividend indices provide investors with dividend yields of up to 11% p.a.</vt:lpstr>
      <vt:lpstr>STOXX Europe Maximum Dividend Index provides significantly better risk return relation than benchmark</vt:lpstr>
      <vt:lpstr>STOXX Europe Maximum Dividend Index shows slightly higher risk than global market</vt:lpstr>
      <vt:lpstr>STOXX sales contacts</vt:lpstr>
      <vt:lpstr>Disclaimer</vt:lpstr>
    </vt:vector>
  </TitlesOfParts>
  <Company>Deutsche Börse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GB color schemes</dc:title>
  <dc:creator>Cashel Conor</dc:creator>
  <cp:lastModifiedBy>Plagge, Jan-Carl</cp:lastModifiedBy>
  <cp:revision>122</cp:revision>
  <cp:lastPrinted>2014-11-21T17:16:26Z</cp:lastPrinted>
  <dcterms:created xsi:type="dcterms:W3CDTF">2014-06-30T19:16:59Z</dcterms:created>
  <dcterms:modified xsi:type="dcterms:W3CDTF">2014-11-24T14:2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